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09" r:id="rId1"/>
  </p:sldMasterIdLst>
  <p:notesMasterIdLst>
    <p:notesMasterId r:id="rId11"/>
  </p:notesMasterIdLst>
  <p:handoutMasterIdLst>
    <p:handoutMasterId r:id="rId12"/>
  </p:handoutMasterIdLst>
  <p:sldIdLst>
    <p:sldId id="260" r:id="rId2"/>
    <p:sldId id="270" r:id="rId3"/>
    <p:sldId id="272" r:id="rId4"/>
    <p:sldId id="275" r:id="rId5"/>
    <p:sldId id="276" r:id="rId6"/>
    <p:sldId id="277" r:id="rId7"/>
    <p:sldId id="278" r:id="rId8"/>
    <p:sldId id="271" r:id="rId9"/>
    <p:sldId id="279" r:id="rId10"/>
  </p:sldIdLst>
  <p:sldSz cx="11522075" cy="6480175"/>
  <p:notesSz cx="6858000" cy="9144000"/>
  <p:custDataLst>
    <p:tags r:id="rId13"/>
  </p:custDataLst>
  <p:defaultTextStyle>
    <a:defPPr>
      <a:defRPr lang="de-DE"/>
    </a:defPPr>
    <a:lvl1pPr marL="0" algn="l" defTabSz="1152144" rtl="0" eaLnBrk="1" latinLnBrk="0" hangingPunct="1">
      <a:defRPr sz="2300" kern="1200">
        <a:solidFill>
          <a:schemeClr val="tx1"/>
        </a:solidFill>
        <a:latin typeface="+mn-lt"/>
        <a:ea typeface="+mn-ea"/>
        <a:cs typeface="+mn-cs"/>
      </a:defRPr>
    </a:lvl1pPr>
    <a:lvl2pPr marL="576072" algn="l" defTabSz="1152144" rtl="0" eaLnBrk="1" latinLnBrk="0" hangingPunct="1">
      <a:defRPr sz="2300" kern="1200">
        <a:solidFill>
          <a:schemeClr val="tx1"/>
        </a:solidFill>
        <a:latin typeface="+mn-lt"/>
        <a:ea typeface="+mn-ea"/>
        <a:cs typeface="+mn-cs"/>
      </a:defRPr>
    </a:lvl2pPr>
    <a:lvl3pPr marL="1152144" algn="l" defTabSz="1152144" rtl="0" eaLnBrk="1" latinLnBrk="0" hangingPunct="1">
      <a:defRPr sz="2300" kern="1200">
        <a:solidFill>
          <a:schemeClr val="tx1"/>
        </a:solidFill>
        <a:latin typeface="+mn-lt"/>
        <a:ea typeface="+mn-ea"/>
        <a:cs typeface="+mn-cs"/>
      </a:defRPr>
    </a:lvl3pPr>
    <a:lvl4pPr marL="1728216" algn="l" defTabSz="1152144" rtl="0" eaLnBrk="1" latinLnBrk="0" hangingPunct="1">
      <a:defRPr sz="2300" kern="1200">
        <a:solidFill>
          <a:schemeClr val="tx1"/>
        </a:solidFill>
        <a:latin typeface="+mn-lt"/>
        <a:ea typeface="+mn-ea"/>
        <a:cs typeface="+mn-cs"/>
      </a:defRPr>
    </a:lvl4pPr>
    <a:lvl5pPr marL="2304288" algn="l" defTabSz="1152144" rtl="0" eaLnBrk="1" latinLnBrk="0" hangingPunct="1">
      <a:defRPr sz="2300" kern="1200">
        <a:solidFill>
          <a:schemeClr val="tx1"/>
        </a:solidFill>
        <a:latin typeface="+mn-lt"/>
        <a:ea typeface="+mn-ea"/>
        <a:cs typeface="+mn-cs"/>
      </a:defRPr>
    </a:lvl5pPr>
    <a:lvl6pPr marL="2880360" algn="l" defTabSz="1152144" rtl="0" eaLnBrk="1" latinLnBrk="0" hangingPunct="1">
      <a:defRPr sz="2300" kern="1200">
        <a:solidFill>
          <a:schemeClr val="tx1"/>
        </a:solidFill>
        <a:latin typeface="+mn-lt"/>
        <a:ea typeface="+mn-ea"/>
        <a:cs typeface="+mn-cs"/>
      </a:defRPr>
    </a:lvl6pPr>
    <a:lvl7pPr marL="3456432" algn="l" defTabSz="1152144" rtl="0" eaLnBrk="1" latinLnBrk="0" hangingPunct="1">
      <a:defRPr sz="2300" kern="1200">
        <a:solidFill>
          <a:schemeClr val="tx1"/>
        </a:solidFill>
        <a:latin typeface="+mn-lt"/>
        <a:ea typeface="+mn-ea"/>
        <a:cs typeface="+mn-cs"/>
      </a:defRPr>
    </a:lvl7pPr>
    <a:lvl8pPr marL="4032504" algn="l" defTabSz="1152144" rtl="0" eaLnBrk="1" latinLnBrk="0" hangingPunct="1">
      <a:defRPr sz="2300" kern="1200">
        <a:solidFill>
          <a:schemeClr val="tx1"/>
        </a:solidFill>
        <a:latin typeface="+mn-lt"/>
        <a:ea typeface="+mn-ea"/>
        <a:cs typeface="+mn-cs"/>
      </a:defRPr>
    </a:lvl8pPr>
    <a:lvl9pPr marL="4608576" algn="l" defTabSz="1152144" rtl="0" eaLnBrk="1" latinLnBrk="0" hangingPunct="1">
      <a:defRPr sz="23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04">
          <p15:clr>
            <a:srgbClr val="A4A3A4"/>
          </p15:clr>
        </p15:guide>
        <p15:guide id="8" orient="horz" pos="2041" userDrawn="1">
          <p15:clr>
            <a:srgbClr val="A4A3A4"/>
          </p15:clr>
        </p15:guide>
        <p15:guide id="9" orient="horz" pos="930" userDrawn="1">
          <p15:clr>
            <a:srgbClr val="A4A3A4"/>
          </p15:clr>
        </p15:guide>
        <p15:guide id="10" orient="horz" pos="3266" userDrawn="1">
          <p15:clr>
            <a:srgbClr val="A4A3A4"/>
          </p15:clr>
        </p15:guide>
        <p15:guide id="12" orient="horz" pos="3470" userDrawn="1">
          <p15:clr>
            <a:srgbClr val="A4A3A4"/>
          </p15:clr>
        </p15:guide>
        <p15:guide id="13" orient="horz" pos="3674" userDrawn="1">
          <p15:clr>
            <a:srgbClr val="A4A3A4"/>
          </p15:clr>
        </p15:guide>
        <p15:guide id="14" orient="horz" pos="3878" userDrawn="1">
          <p15:clr>
            <a:srgbClr val="A4A3A4"/>
          </p15:clr>
        </p15:guide>
        <p15:guide id="15" pos="1939" userDrawn="1">
          <p15:clr>
            <a:srgbClr val="A4A3A4"/>
          </p15:clr>
        </p15:guide>
        <p15:guide id="16" pos="1847" userDrawn="1">
          <p15:clr>
            <a:srgbClr val="A4A3A4"/>
          </p15:clr>
        </p15:guide>
        <p15:guide id="17" pos="204" userDrawn="1">
          <p15:clr>
            <a:srgbClr val="A4A3A4"/>
          </p15:clr>
        </p15:guide>
        <p15:guide id="18" pos="7054" userDrawn="1">
          <p15:clr>
            <a:srgbClr val="A4A3A4"/>
          </p15:clr>
        </p15:guide>
        <p15:guide id="19" pos="5411" userDrawn="1">
          <p15:clr>
            <a:srgbClr val="A4A3A4"/>
          </p15:clr>
        </p15:guide>
        <p15:guide id="20" pos="5318" userDrawn="1">
          <p15:clr>
            <a:srgbClr val="A4A3A4"/>
          </p15:clr>
        </p15:guide>
        <p15:guide id="21" pos="3674" userDrawn="1">
          <p15:clr>
            <a:srgbClr val="A4A3A4"/>
          </p15:clr>
        </p15:guide>
        <p15:guide id="22" pos="3584" userDrawn="1">
          <p15:clr>
            <a:srgbClr val="A4A3A4"/>
          </p15:clr>
        </p15:guide>
        <p15:guide id="23" pos="362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pos="302">
          <p15:clr>
            <a:srgbClr val="A4A3A4"/>
          </p15:clr>
        </p15:guide>
        <p15:guide id="4" pos="401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E8E8"/>
    <a:srgbClr val="FBFBFB"/>
    <a:srgbClr val="FAFAFA"/>
    <a:srgbClr val="FDFDFD"/>
    <a:srgbClr val="EDEDED"/>
    <a:srgbClr val="000000"/>
    <a:srgbClr val="E20074"/>
    <a:srgbClr val="E20000"/>
    <a:srgbClr val="992C99"/>
    <a:srgbClr val="4B4B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4" autoAdjust="0"/>
    <p:restoredTop sz="95186" autoAdjust="0"/>
  </p:normalViewPr>
  <p:slideViewPr>
    <p:cSldViewPr snapToGrid="0" snapToObjects="1">
      <p:cViewPr varScale="1">
        <p:scale>
          <a:sx n="91" d="100"/>
          <a:sy n="91" d="100"/>
        </p:scale>
        <p:origin x="426" y="84"/>
      </p:cViewPr>
      <p:guideLst>
        <p:guide orient="horz" pos="204"/>
        <p:guide orient="horz" pos="2041"/>
        <p:guide orient="horz" pos="930"/>
        <p:guide orient="horz" pos="3266"/>
        <p:guide orient="horz" pos="3470"/>
        <p:guide orient="horz" pos="3674"/>
        <p:guide orient="horz" pos="3878"/>
        <p:guide pos="1939"/>
        <p:guide pos="1847"/>
        <p:guide pos="204"/>
        <p:guide pos="7054"/>
        <p:guide pos="5411"/>
        <p:guide pos="5318"/>
        <p:guide pos="3674"/>
        <p:guide pos="3584"/>
        <p:guide pos="362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118" d="100"/>
          <a:sy n="118" d="100"/>
        </p:scale>
        <p:origin x="4152" y="102"/>
      </p:cViewPr>
      <p:guideLst>
        <p:guide orient="horz" pos="2880"/>
        <p:guide pos="2160"/>
        <p:guide pos="302"/>
        <p:guide pos="401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a:xfrm>
            <a:off x="5906975" y="8640000"/>
            <a:ext cx="471600" cy="280800"/>
          </a:xfrm>
          <a:prstGeom prst="rect">
            <a:avLst/>
          </a:prstGeom>
        </p:spPr>
        <p:txBody>
          <a:bodyPr vert="horz" lIns="0" tIns="45720" rIns="0" bIns="45720" rtlCol="0" anchor="b"/>
          <a:lstStyle>
            <a:lvl1pPr algn="r">
              <a:defRPr sz="1200"/>
            </a:lvl1pPr>
          </a:lstStyle>
          <a:p>
            <a:fld id="{A7E515CE-432D-4663-9EC7-909C3633A725}" type="slidenum">
              <a:rPr lang="de-DE" smtClean="0">
                <a:latin typeface="Tele-GroteskNor" pitchFamily="2" charset="0"/>
              </a:rPr>
              <a:pPr/>
              <a:t>‹#›</a:t>
            </a:fld>
            <a:endParaRPr lang="de-DE" dirty="0">
              <a:latin typeface="Tele-GroteskNor" pitchFamily="2" charset="0"/>
            </a:endParaRPr>
          </a:p>
        </p:txBody>
      </p:sp>
      <p:pic>
        <p:nvPicPr>
          <p:cNvPr id="9" name="Grafik 8" descr="TSY_Logo_3c_p.emf"/>
          <p:cNvPicPr>
            <a:picLocks noChangeAspect="1"/>
          </p:cNvPicPr>
          <p:nvPr/>
        </p:nvPicPr>
        <p:blipFill>
          <a:blip r:embed="rId2"/>
          <a:stretch>
            <a:fillRect/>
          </a:stretch>
        </p:blipFill>
        <p:spPr>
          <a:xfrm>
            <a:off x="468313" y="217645"/>
            <a:ext cx="2257305" cy="410047"/>
          </a:xfrm>
          <a:prstGeom prst="rect">
            <a:avLst/>
          </a:prstGeom>
        </p:spPr>
      </p:pic>
    </p:spTree>
    <p:extLst>
      <p:ext uri="{BB962C8B-B14F-4D97-AF65-F5344CB8AC3E}">
        <p14:creationId xmlns:p14="http://schemas.microsoft.com/office/powerpoint/2010/main" val="2003313548"/>
      </p:ext>
    </p:extLst>
  </p:cSld>
  <p:clrMap bg1="lt1" tx1="dk1" bg2="lt2" tx2="dk2" accent1="accent1" accent2="accent2" accent3="accent3" accent4="accent4" accent5="accent5" accent6="accent6" hlink="hlink" folHlink="folHlink"/>
  <p:hf hdr="0"/>
  <p:extLst>
    <p:ext uri="{56416CCD-93CA-4268-BC5B-53C4BB910035}">
      <p15:sldGuideLst xmlns:p15="http://schemas.microsoft.com/office/powerpoint/2012/main">
        <p15:guide id="1" pos="295"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78800" y="371599"/>
            <a:ext cx="5900400" cy="33189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478800" y="3876675"/>
            <a:ext cx="5900400" cy="4581526"/>
          </a:xfrm>
          <a:prstGeom prst="rect">
            <a:avLst/>
          </a:prstGeom>
        </p:spPr>
        <p:txBody>
          <a:bodyPr vert="horz" lIns="0" tIns="0" rIns="0" bIns="0" rtlCol="0">
            <a:normAutofit/>
          </a:bodyPr>
          <a:lstStyle/>
          <a:p>
            <a:pPr lvl="0"/>
            <a:r>
              <a:rPr lang="en-US" dirty="0" err="1" smtClean="0"/>
              <a:t>Textmasterformate</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7" name="Foliennummernplatzhalter 6"/>
          <p:cNvSpPr>
            <a:spLocks noGrp="1"/>
          </p:cNvSpPr>
          <p:nvPr>
            <p:ph type="sldNum" sz="quarter" idx="5"/>
          </p:nvPr>
        </p:nvSpPr>
        <p:spPr>
          <a:xfrm>
            <a:off x="5907600" y="8640000"/>
            <a:ext cx="471600" cy="280800"/>
          </a:xfrm>
          <a:prstGeom prst="rect">
            <a:avLst/>
          </a:prstGeom>
        </p:spPr>
        <p:txBody>
          <a:bodyPr vert="horz" lIns="0" tIns="45720" rIns="0" bIns="45720" rtlCol="0" anchor="ctr"/>
          <a:lstStyle>
            <a:lvl1pPr algn="r">
              <a:defRPr sz="900">
                <a:latin typeface="Tele-GroteskNor" pitchFamily="2" charset="0"/>
              </a:defRPr>
            </a:lvl1pPr>
          </a:lstStyle>
          <a:p>
            <a:fld id="{76E97663-D53D-4421-A2F3-0C076A0529F5}" type="slidenum">
              <a:rPr lang="en-US" smtClean="0"/>
              <a:pPr/>
              <a:t>‹#›</a:t>
            </a:fld>
            <a:endParaRPr lang="en-US" dirty="0"/>
          </a:p>
        </p:txBody>
      </p:sp>
    </p:spTree>
    <p:extLst>
      <p:ext uri="{BB962C8B-B14F-4D97-AF65-F5344CB8AC3E}">
        <p14:creationId xmlns:p14="http://schemas.microsoft.com/office/powerpoint/2010/main" val="1596344682"/>
      </p:ext>
    </p:extLst>
  </p:cSld>
  <p:clrMap bg1="lt1" tx1="dk1" bg2="lt2" tx2="dk2" accent1="accent1" accent2="accent2" accent3="accent3" accent4="accent4" accent5="accent5" accent6="accent6" hlink="hlink" folHlink="folHlink"/>
  <p:hf hdr="0"/>
  <p:notesStyle>
    <a:lvl1pPr marL="0" indent="0" algn="l" defTabSz="1152144" rtl="0" eaLnBrk="1" latinLnBrk="0" hangingPunct="1">
      <a:lnSpc>
        <a:spcPct val="90000"/>
      </a:lnSpc>
      <a:spcBef>
        <a:spcPts val="400"/>
      </a:spcBef>
      <a:buClr>
        <a:schemeClr val="tx2"/>
      </a:buClr>
      <a:buSzPct val="75000"/>
      <a:buFont typeface="Wingdings" pitchFamily="2" charset="2"/>
      <a:buNone/>
      <a:defRPr sz="1000" kern="1200">
        <a:solidFill>
          <a:schemeClr val="tx1"/>
        </a:solidFill>
        <a:latin typeface="Tele-GroteskFet" pitchFamily="2" charset="0"/>
        <a:ea typeface="+mn-ea"/>
        <a:cs typeface="+mn-cs"/>
      </a:defRPr>
    </a:lvl1pPr>
    <a:lvl2pPr marL="0" indent="0" algn="l" defTabSz="1152144" rtl="0" eaLnBrk="1" latinLnBrk="0" hangingPunct="1">
      <a:lnSpc>
        <a:spcPct val="90000"/>
      </a:lnSpc>
      <a:spcBef>
        <a:spcPts val="400"/>
      </a:spcBef>
      <a:buClr>
        <a:schemeClr val="tx2"/>
      </a:buClr>
      <a:buSzPct val="75000"/>
      <a:buFont typeface="Wingdings" pitchFamily="2" charset="2"/>
      <a:buNone/>
      <a:defRPr sz="1000" kern="1200">
        <a:solidFill>
          <a:schemeClr val="tx1"/>
        </a:solidFill>
        <a:latin typeface="Tele-GroteskNor" pitchFamily="2" charset="0"/>
        <a:ea typeface="+mn-ea"/>
        <a:cs typeface="+mn-cs"/>
      </a:defRPr>
    </a:lvl2pPr>
    <a:lvl3pPr marL="85725" indent="-85725"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3pPr>
    <a:lvl4pPr marL="180975" indent="-95250"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4pPr>
    <a:lvl5pPr marL="266700" indent="-85725"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5pPr>
    <a:lvl6pPr marL="2880360" algn="l" defTabSz="1152144" rtl="0" eaLnBrk="1" latinLnBrk="0" hangingPunct="1">
      <a:defRPr sz="1500" kern="1200">
        <a:solidFill>
          <a:schemeClr val="tx1"/>
        </a:solidFill>
        <a:latin typeface="+mn-lt"/>
        <a:ea typeface="+mn-ea"/>
        <a:cs typeface="+mn-cs"/>
      </a:defRPr>
    </a:lvl6pPr>
    <a:lvl7pPr marL="3456432" algn="l" defTabSz="1152144" rtl="0" eaLnBrk="1" latinLnBrk="0" hangingPunct="1">
      <a:defRPr sz="1500" kern="1200">
        <a:solidFill>
          <a:schemeClr val="tx1"/>
        </a:solidFill>
        <a:latin typeface="+mn-lt"/>
        <a:ea typeface="+mn-ea"/>
        <a:cs typeface="+mn-cs"/>
      </a:defRPr>
    </a:lvl7pPr>
    <a:lvl8pPr marL="4032504" algn="l" defTabSz="1152144" rtl="0" eaLnBrk="1" latinLnBrk="0" hangingPunct="1">
      <a:defRPr sz="1500" kern="1200">
        <a:solidFill>
          <a:schemeClr val="tx1"/>
        </a:solidFill>
        <a:latin typeface="+mn-lt"/>
        <a:ea typeface="+mn-ea"/>
        <a:cs typeface="+mn-cs"/>
      </a:defRPr>
    </a:lvl8pPr>
    <a:lvl9pPr marL="4608576" algn="l" defTabSz="1152144" rtl="0" eaLnBrk="1" latinLnBrk="0" hangingPunct="1">
      <a:defRPr sz="15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70188" y="276225"/>
            <a:ext cx="4386262" cy="2466975"/>
          </a:xfrm>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fld id="{76E97663-D53D-4421-A2F3-0C076A0529F5}" type="slidenum">
              <a:rPr lang="en-US" smtClean="0"/>
              <a:pPr/>
              <a:t>1</a:t>
            </a:fld>
            <a:endParaRPr lang="en-US" dirty="0"/>
          </a:p>
        </p:txBody>
      </p:sp>
    </p:spTree>
    <p:extLst>
      <p:ext uri="{BB962C8B-B14F-4D97-AF65-F5344CB8AC3E}">
        <p14:creationId xmlns:p14="http://schemas.microsoft.com/office/powerpoint/2010/main" val="33677040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4.jpg"/><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10.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6.jpe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8.jpe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1.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elplatzhalter 1"/>
          <p:cNvSpPr>
            <a:spLocks noGrp="1"/>
          </p:cNvSpPr>
          <p:nvPr>
            <p:ph type="ctrTitle" hasCustomPrompt="1"/>
          </p:nvPr>
        </p:nvSpPr>
        <p:spPr bwMode="black">
          <a:xfrm>
            <a:off x="323851" y="323850"/>
            <a:ext cx="10874374" cy="2077492"/>
          </a:xfrm>
          <a:noFill/>
        </p:spPr>
        <p:txBody>
          <a:bodyPr wrap="square" lIns="0" tIns="0">
            <a:spAutoFit/>
          </a:bodyPr>
          <a:lstStyle>
            <a:lvl1pPr>
              <a:defRPr sz="7500" smtClean="0">
                <a:solidFill>
                  <a:schemeClr val="bg1"/>
                </a:solidFill>
                <a:latin typeface="TeleGrotesk Headline Ultra" pitchFamily="2" charset="0"/>
              </a:defRPr>
            </a:lvl1pPr>
          </a:lstStyle>
          <a:p>
            <a:r>
              <a:rPr lang="en-US" noProof="0" dirty="0" err="1" smtClean="0"/>
              <a:t>TeleGrotesk</a:t>
            </a:r>
            <a:r>
              <a:rPr lang="en-US" noProof="0" dirty="0" smtClean="0"/>
              <a:t> Headline Ultra 60 (75) 90 PT</a:t>
            </a:r>
          </a:p>
        </p:txBody>
      </p:sp>
      <p:sp>
        <p:nvSpPr>
          <p:cNvPr id="8" name="Textplatzhalter 2"/>
          <p:cNvSpPr>
            <a:spLocks noGrp="1"/>
          </p:cNvSpPr>
          <p:nvPr>
            <p:ph type="body" sz="quarter" idx="10" hasCustomPrompt="1"/>
          </p:nvPr>
        </p:nvSpPr>
        <p:spPr bwMode="black">
          <a:xfrm>
            <a:off x="323850" y="3240088"/>
            <a:ext cx="10874375" cy="512090"/>
          </a:xfrm>
          <a:noFill/>
        </p:spPr>
        <p:txBody>
          <a:bodyPr/>
          <a:lstStyle>
            <a:lvl1pPr>
              <a:defRPr baseline="0">
                <a:solidFill>
                  <a:schemeClr val="bg1"/>
                </a:solidFill>
              </a:defRPr>
            </a:lvl1pPr>
            <a:lvl5pPr>
              <a:defRPr/>
            </a:lvl5pPr>
          </a:lstStyle>
          <a:p>
            <a:pPr lvl="0"/>
            <a:r>
              <a:rPr lang="en-US" noProof="0" dirty="0" smtClean="0"/>
              <a:t>Sub-heading Tele-</a:t>
            </a:r>
            <a:r>
              <a:rPr lang="en-US" noProof="0" dirty="0" err="1" smtClean="0"/>
              <a:t>GroteskFet</a:t>
            </a:r>
            <a:r>
              <a:rPr lang="en-US" noProof="0" dirty="0" smtClean="0"/>
              <a:t> 18 </a:t>
            </a:r>
            <a:r>
              <a:rPr lang="en-US" noProof="0" dirty="0" err="1" smtClean="0"/>
              <a:t>pt</a:t>
            </a:r>
            <a:endParaRPr lang="en-US" noProof="0" dirty="0"/>
          </a:p>
        </p:txBody>
      </p:sp>
      <p:grpSp>
        <p:nvGrpSpPr>
          <p:cNvPr id="5" name="Gruppieren 4"/>
          <p:cNvGrpSpPr/>
          <p:nvPr userDrawn="1"/>
        </p:nvGrpSpPr>
        <p:grpSpPr>
          <a:xfrm>
            <a:off x="323850" y="5508625"/>
            <a:ext cx="4518026" cy="820738"/>
            <a:chOff x="323850" y="5508625"/>
            <a:chExt cx="4518026" cy="820738"/>
          </a:xfrm>
          <a:solidFill>
            <a:schemeClr val="bg1"/>
          </a:solidFill>
        </p:grpSpPr>
        <p:sp>
          <p:nvSpPr>
            <p:cNvPr id="7" name="Freeform 5"/>
            <p:cNvSpPr>
              <a:spLocks/>
            </p:cNvSpPr>
            <p:nvPr userDrawn="1"/>
          </p:nvSpPr>
          <p:spPr bwMode="auto">
            <a:xfrm>
              <a:off x="323850" y="5807075"/>
              <a:ext cx="131763" cy="133350"/>
            </a:xfrm>
            <a:custGeom>
              <a:avLst/>
              <a:gdLst>
                <a:gd name="T0" fmla="*/ 0 w 83"/>
                <a:gd name="T1" fmla="*/ 84 h 84"/>
                <a:gd name="T2" fmla="*/ 0 w 83"/>
                <a:gd name="T3" fmla="*/ 0 h 84"/>
                <a:gd name="T4" fmla="*/ 40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0"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p:cNvSpPr>
              <a:spLocks/>
            </p:cNvSpPr>
            <p:nvPr userDrawn="1"/>
          </p:nvSpPr>
          <p:spPr bwMode="auto">
            <a:xfrm>
              <a:off x="725488" y="5807075"/>
              <a:ext cx="131763" cy="133350"/>
            </a:xfrm>
            <a:custGeom>
              <a:avLst/>
              <a:gdLst>
                <a:gd name="T0" fmla="*/ 0 w 83"/>
                <a:gd name="T1" fmla="*/ 84 h 84"/>
                <a:gd name="T2" fmla="*/ 0 w 83"/>
                <a:gd name="T3" fmla="*/ 0 h 84"/>
                <a:gd name="T4" fmla="*/ 45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5"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p:cNvSpPr>
              <a:spLocks/>
            </p:cNvSpPr>
            <p:nvPr userDrawn="1"/>
          </p:nvSpPr>
          <p:spPr bwMode="auto">
            <a:xfrm>
              <a:off x="1120775" y="5807075"/>
              <a:ext cx="131763" cy="133350"/>
            </a:xfrm>
            <a:custGeom>
              <a:avLst/>
              <a:gdLst>
                <a:gd name="T0" fmla="*/ 0 w 83"/>
                <a:gd name="T1" fmla="*/ 84 h 84"/>
                <a:gd name="T2" fmla="*/ 0 w 83"/>
                <a:gd name="T3" fmla="*/ 0 h 84"/>
                <a:gd name="T4" fmla="*/ 42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2"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p:cNvSpPr>
              <a:spLocks/>
            </p:cNvSpPr>
            <p:nvPr userDrawn="1"/>
          </p:nvSpPr>
          <p:spPr bwMode="auto">
            <a:xfrm>
              <a:off x="1514475" y="5807075"/>
              <a:ext cx="133350" cy="133350"/>
            </a:xfrm>
            <a:custGeom>
              <a:avLst/>
              <a:gdLst>
                <a:gd name="T0" fmla="*/ 0 w 84"/>
                <a:gd name="T1" fmla="*/ 84 h 84"/>
                <a:gd name="T2" fmla="*/ 0 w 84"/>
                <a:gd name="T3" fmla="*/ 0 h 84"/>
                <a:gd name="T4" fmla="*/ 39 w 84"/>
                <a:gd name="T5" fmla="*/ 0 h 84"/>
                <a:gd name="T6" fmla="*/ 84 w 84"/>
                <a:gd name="T7" fmla="*/ 0 h 84"/>
                <a:gd name="T8" fmla="*/ 84 w 84"/>
                <a:gd name="T9" fmla="*/ 84 h 84"/>
                <a:gd name="T10" fmla="*/ 0 w 84"/>
                <a:gd name="T11" fmla="*/ 84 h 84"/>
              </a:gdLst>
              <a:ahLst/>
              <a:cxnLst>
                <a:cxn ang="0">
                  <a:pos x="T0" y="T1"/>
                </a:cxn>
                <a:cxn ang="0">
                  <a:pos x="T2" y="T3"/>
                </a:cxn>
                <a:cxn ang="0">
                  <a:pos x="T4" y="T5"/>
                </a:cxn>
                <a:cxn ang="0">
                  <a:pos x="T6" y="T7"/>
                </a:cxn>
                <a:cxn ang="0">
                  <a:pos x="T8" y="T9"/>
                </a:cxn>
                <a:cxn ang="0">
                  <a:pos x="T10" y="T11"/>
                </a:cxn>
              </a:cxnLst>
              <a:rect l="0" t="0" r="r" b="b"/>
              <a:pathLst>
                <a:path w="84" h="84">
                  <a:moveTo>
                    <a:pt x="0" y="84"/>
                  </a:moveTo>
                  <a:lnTo>
                    <a:pt x="0" y="0"/>
                  </a:lnTo>
                  <a:lnTo>
                    <a:pt x="39" y="0"/>
                  </a:lnTo>
                  <a:lnTo>
                    <a:pt x="84" y="0"/>
                  </a:lnTo>
                  <a:lnTo>
                    <a:pt x="84"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p:cNvSpPr>
              <a:spLocks/>
            </p:cNvSpPr>
            <p:nvPr userDrawn="1"/>
          </p:nvSpPr>
          <p:spPr bwMode="auto">
            <a:xfrm>
              <a:off x="323850" y="5508625"/>
              <a:ext cx="533400" cy="650875"/>
            </a:xfrm>
            <a:custGeom>
              <a:avLst/>
              <a:gdLst>
                <a:gd name="T0" fmla="*/ 322 w 325"/>
                <a:gd name="T1" fmla="*/ 0 h 397"/>
                <a:gd name="T2" fmla="*/ 4 w 325"/>
                <a:gd name="T3" fmla="*/ 0 h 397"/>
                <a:gd name="T4" fmla="*/ 0 w 325"/>
                <a:gd name="T5" fmla="*/ 140 h 397"/>
                <a:gd name="T6" fmla="*/ 21 w 325"/>
                <a:gd name="T7" fmla="*/ 143 h 397"/>
                <a:gd name="T8" fmla="*/ 54 w 325"/>
                <a:gd name="T9" fmla="*/ 52 h 397"/>
                <a:gd name="T10" fmla="*/ 131 w 325"/>
                <a:gd name="T11" fmla="*/ 19 h 397"/>
                <a:gd name="T12" fmla="*/ 131 w 325"/>
                <a:gd name="T13" fmla="*/ 312 h 397"/>
                <a:gd name="T14" fmla="*/ 120 w 325"/>
                <a:gd name="T15" fmla="*/ 362 h 397"/>
                <a:gd name="T16" fmla="*/ 88 w 325"/>
                <a:gd name="T17" fmla="*/ 374 h 397"/>
                <a:gd name="T18" fmla="*/ 65 w 325"/>
                <a:gd name="T19" fmla="*/ 374 h 397"/>
                <a:gd name="T20" fmla="*/ 65 w 325"/>
                <a:gd name="T21" fmla="*/ 397 h 397"/>
                <a:gd name="T22" fmla="*/ 261 w 325"/>
                <a:gd name="T23" fmla="*/ 397 h 397"/>
                <a:gd name="T24" fmla="*/ 261 w 325"/>
                <a:gd name="T25" fmla="*/ 374 h 397"/>
                <a:gd name="T26" fmla="*/ 238 w 325"/>
                <a:gd name="T27" fmla="*/ 374 h 397"/>
                <a:gd name="T28" fmla="*/ 206 w 325"/>
                <a:gd name="T29" fmla="*/ 362 h 397"/>
                <a:gd name="T30" fmla="*/ 194 w 325"/>
                <a:gd name="T31" fmla="*/ 312 h 397"/>
                <a:gd name="T32" fmla="*/ 194 w 325"/>
                <a:gd name="T33" fmla="*/ 19 h 397"/>
                <a:gd name="T34" fmla="*/ 272 w 325"/>
                <a:gd name="T35" fmla="*/ 52 h 397"/>
                <a:gd name="T36" fmla="*/ 304 w 325"/>
                <a:gd name="T37" fmla="*/ 143 h 397"/>
                <a:gd name="T38" fmla="*/ 325 w 325"/>
                <a:gd name="T39" fmla="*/ 140 h 397"/>
                <a:gd name="T40" fmla="*/ 322 w 325"/>
                <a:gd name="T41"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 h="397">
                  <a:moveTo>
                    <a:pt x="322" y="0"/>
                  </a:moveTo>
                  <a:cubicBezTo>
                    <a:pt x="4" y="0"/>
                    <a:pt x="4" y="0"/>
                    <a:pt x="4" y="0"/>
                  </a:cubicBezTo>
                  <a:cubicBezTo>
                    <a:pt x="0" y="140"/>
                    <a:pt x="0" y="140"/>
                    <a:pt x="0" y="140"/>
                  </a:cubicBezTo>
                  <a:cubicBezTo>
                    <a:pt x="21" y="143"/>
                    <a:pt x="21" y="143"/>
                    <a:pt x="21" y="143"/>
                  </a:cubicBezTo>
                  <a:cubicBezTo>
                    <a:pt x="25" y="102"/>
                    <a:pt x="36" y="72"/>
                    <a:pt x="54" y="52"/>
                  </a:cubicBezTo>
                  <a:cubicBezTo>
                    <a:pt x="72" y="31"/>
                    <a:pt x="98" y="20"/>
                    <a:pt x="131" y="19"/>
                  </a:cubicBezTo>
                  <a:cubicBezTo>
                    <a:pt x="131" y="312"/>
                    <a:pt x="131" y="312"/>
                    <a:pt x="131" y="312"/>
                  </a:cubicBezTo>
                  <a:cubicBezTo>
                    <a:pt x="131" y="337"/>
                    <a:pt x="127" y="354"/>
                    <a:pt x="120" y="362"/>
                  </a:cubicBezTo>
                  <a:cubicBezTo>
                    <a:pt x="114" y="368"/>
                    <a:pt x="103" y="372"/>
                    <a:pt x="88" y="374"/>
                  </a:cubicBezTo>
                  <a:cubicBezTo>
                    <a:pt x="83" y="374"/>
                    <a:pt x="76" y="374"/>
                    <a:pt x="65" y="374"/>
                  </a:cubicBezTo>
                  <a:cubicBezTo>
                    <a:pt x="65" y="397"/>
                    <a:pt x="65" y="397"/>
                    <a:pt x="65" y="397"/>
                  </a:cubicBezTo>
                  <a:cubicBezTo>
                    <a:pt x="261" y="397"/>
                    <a:pt x="261" y="397"/>
                    <a:pt x="261" y="397"/>
                  </a:cubicBezTo>
                  <a:cubicBezTo>
                    <a:pt x="261" y="374"/>
                    <a:pt x="261" y="374"/>
                    <a:pt x="261" y="374"/>
                  </a:cubicBezTo>
                  <a:cubicBezTo>
                    <a:pt x="250" y="374"/>
                    <a:pt x="242" y="374"/>
                    <a:pt x="238" y="374"/>
                  </a:cubicBezTo>
                  <a:cubicBezTo>
                    <a:pt x="223" y="372"/>
                    <a:pt x="212" y="368"/>
                    <a:pt x="206" y="362"/>
                  </a:cubicBezTo>
                  <a:cubicBezTo>
                    <a:pt x="198" y="354"/>
                    <a:pt x="194" y="337"/>
                    <a:pt x="194" y="312"/>
                  </a:cubicBezTo>
                  <a:cubicBezTo>
                    <a:pt x="194" y="19"/>
                    <a:pt x="194" y="19"/>
                    <a:pt x="194" y="19"/>
                  </a:cubicBezTo>
                  <a:cubicBezTo>
                    <a:pt x="228" y="20"/>
                    <a:pt x="253" y="31"/>
                    <a:pt x="272" y="52"/>
                  </a:cubicBezTo>
                  <a:cubicBezTo>
                    <a:pt x="290" y="72"/>
                    <a:pt x="301" y="102"/>
                    <a:pt x="304" y="143"/>
                  </a:cubicBezTo>
                  <a:cubicBezTo>
                    <a:pt x="325" y="140"/>
                    <a:pt x="325" y="140"/>
                    <a:pt x="325" y="140"/>
                  </a:cubicBezTo>
                  <a:lnTo>
                    <a:pt x="3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p:cNvSpPr>
              <a:spLocks/>
            </p:cNvSpPr>
            <p:nvPr userDrawn="1"/>
          </p:nvSpPr>
          <p:spPr bwMode="auto">
            <a:xfrm>
              <a:off x="1762125" y="5518150"/>
              <a:ext cx="392113" cy="657225"/>
            </a:xfrm>
            <a:custGeom>
              <a:avLst/>
              <a:gdLst>
                <a:gd name="T0" fmla="*/ 202 w 239"/>
                <a:gd name="T1" fmla="*/ 134 h 400"/>
                <a:gd name="T2" fmla="*/ 175 w 239"/>
                <a:gd name="T3" fmla="*/ 59 h 400"/>
                <a:gd name="T4" fmla="*/ 108 w 239"/>
                <a:gd name="T5" fmla="*/ 20 h 400"/>
                <a:gd name="T6" fmla="*/ 66 w 239"/>
                <a:gd name="T7" fmla="*/ 35 h 400"/>
                <a:gd name="T8" fmla="*/ 45 w 239"/>
                <a:gd name="T9" fmla="*/ 84 h 400"/>
                <a:gd name="T10" fmla="*/ 68 w 239"/>
                <a:gd name="T11" fmla="*/ 134 h 400"/>
                <a:gd name="T12" fmla="*/ 120 w 239"/>
                <a:gd name="T13" fmla="*/ 159 h 400"/>
                <a:gd name="T14" fmla="*/ 198 w 239"/>
                <a:gd name="T15" fmla="*/ 193 h 400"/>
                <a:gd name="T16" fmla="*/ 239 w 239"/>
                <a:gd name="T17" fmla="*/ 279 h 400"/>
                <a:gd name="T18" fmla="*/ 205 w 239"/>
                <a:gd name="T19" fmla="*/ 367 h 400"/>
                <a:gd name="T20" fmla="*/ 127 w 239"/>
                <a:gd name="T21" fmla="*/ 400 h 400"/>
                <a:gd name="T22" fmla="*/ 82 w 239"/>
                <a:gd name="T23" fmla="*/ 391 h 400"/>
                <a:gd name="T24" fmla="*/ 52 w 239"/>
                <a:gd name="T25" fmla="*/ 374 h 400"/>
                <a:gd name="T26" fmla="*/ 40 w 239"/>
                <a:gd name="T27" fmla="*/ 370 h 400"/>
                <a:gd name="T28" fmla="*/ 26 w 239"/>
                <a:gd name="T29" fmla="*/ 378 h 400"/>
                <a:gd name="T30" fmla="*/ 18 w 239"/>
                <a:gd name="T31" fmla="*/ 391 h 400"/>
                <a:gd name="T32" fmla="*/ 0 w 239"/>
                <a:gd name="T33" fmla="*/ 391 h 400"/>
                <a:gd name="T34" fmla="*/ 0 w 239"/>
                <a:gd name="T35" fmla="*/ 252 h 400"/>
                <a:gd name="T36" fmla="*/ 19 w 239"/>
                <a:gd name="T37" fmla="*/ 252 h 400"/>
                <a:gd name="T38" fmla="*/ 46 w 239"/>
                <a:gd name="T39" fmla="*/ 332 h 400"/>
                <a:gd name="T40" fmla="*/ 124 w 239"/>
                <a:gd name="T41" fmla="*/ 379 h 400"/>
                <a:gd name="T42" fmla="*/ 171 w 239"/>
                <a:gd name="T43" fmla="*/ 363 h 400"/>
                <a:gd name="T44" fmla="*/ 195 w 239"/>
                <a:gd name="T45" fmla="*/ 304 h 400"/>
                <a:gd name="T46" fmla="*/ 158 w 239"/>
                <a:gd name="T47" fmla="*/ 239 h 400"/>
                <a:gd name="T48" fmla="*/ 94 w 239"/>
                <a:gd name="T49" fmla="*/ 214 h 400"/>
                <a:gd name="T50" fmla="*/ 35 w 239"/>
                <a:gd name="T51" fmla="*/ 183 h 400"/>
                <a:gd name="T52" fmla="*/ 3 w 239"/>
                <a:gd name="T53" fmla="*/ 107 h 400"/>
                <a:gd name="T54" fmla="*/ 38 w 239"/>
                <a:gd name="T55" fmla="*/ 25 h 400"/>
                <a:gd name="T56" fmla="*/ 105 w 239"/>
                <a:gd name="T57" fmla="*/ 0 h 400"/>
                <a:gd name="T58" fmla="*/ 148 w 239"/>
                <a:gd name="T59" fmla="*/ 8 h 400"/>
                <a:gd name="T60" fmla="*/ 175 w 239"/>
                <a:gd name="T61" fmla="*/ 23 h 400"/>
                <a:gd name="T62" fmla="*/ 185 w 239"/>
                <a:gd name="T63" fmla="*/ 26 h 400"/>
                <a:gd name="T64" fmla="*/ 203 w 239"/>
                <a:gd name="T65" fmla="*/ 8 h 400"/>
                <a:gd name="T66" fmla="*/ 219 w 239"/>
                <a:gd name="T67" fmla="*/ 8 h 400"/>
                <a:gd name="T68" fmla="*/ 219 w 239"/>
                <a:gd name="T69" fmla="*/ 134 h 400"/>
                <a:gd name="T70" fmla="*/ 202 w 239"/>
                <a:gd name="T71" fmla="*/ 13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9" h="400">
                  <a:moveTo>
                    <a:pt x="202" y="134"/>
                  </a:moveTo>
                  <a:cubicBezTo>
                    <a:pt x="195" y="100"/>
                    <a:pt x="186" y="75"/>
                    <a:pt x="175" y="59"/>
                  </a:cubicBezTo>
                  <a:cubicBezTo>
                    <a:pt x="158" y="33"/>
                    <a:pt x="135" y="20"/>
                    <a:pt x="108" y="20"/>
                  </a:cubicBezTo>
                  <a:cubicBezTo>
                    <a:pt x="91" y="20"/>
                    <a:pt x="77" y="25"/>
                    <a:pt x="66" y="35"/>
                  </a:cubicBezTo>
                  <a:cubicBezTo>
                    <a:pt x="52" y="47"/>
                    <a:pt x="45" y="63"/>
                    <a:pt x="45" y="84"/>
                  </a:cubicBezTo>
                  <a:cubicBezTo>
                    <a:pt x="45" y="105"/>
                    <a:pt x="53" y="122"/>
                    <a:pt x="68" y="134"/>
                  </a:cubicBezTo>
                  <a:cubicBezTo>
                    <a:pt x="77" y="142"/>
                    <a:pt x="94" y="150"/>
                    <a:pt x="120" y="159"/>
                  </a:cubicBezTo>
                  <a:cubicBezTo>
                    <a:pt x="159" y="172"/>
                    <a:pt x="184" y="184"/>
                    <a:pt x="198" y="193"/>
                  </a:cubicBezTo>
                  <a:cubicBezTo>
                    <a:pt x="225" y="214"/>
                    <a:pt x="239" y="243"/>
                    <a:pt x="239" y="279"/>
                  </a:cubicBezTo>
                  <a:cubicBezTo>
                    <a:pt x="239" y="314"/>
                    <a:pt x="228" y="344"/>
                    <a:pt x="205" y="367"/>
                  </a:cubicBezTo>
                  <a:cubicBezTo>
                    <a:pt x="184" y="389"/>
                    <a:pt x="158" y="400"/>
                    <a:pt x="127" y="400"/>
                  </a:cubicBezTo>
                  <a:cubicBezTo>
                    <a:pt x="111" y="400"/>
                    <a:pt x="96" y="397"/>
                    <a:pt x="82" y="391"/>
                  </a:cubicBezTo>
                  <a:cubicBezTo>
                    <a:pt x="76" y="388"/>
                    <a:pt x="66" y="383"/>
                    <a:pt x="52" y="374"/>
                  </a:cubicBezTo>
                  <a:cubicBezTo>
                    <a:pt x="48" y="372"/>
                    <a:pt x="44" y="370"/>
                    <a:pt x="40" y="370"/>
                  </a:cubicBezTo>
                  <a:cubicBezTo>
                    <a:pt x="34" y="370"/>
                    <a:pt x="30" y="373"/>
                    <a:pt x="26" y="378"/>
                  </a:cubicBezTo>
                  <a:cubicBezTo>
                    <a:pt x="24" y="381"/>
                    <a:pt x="21" y="385"/>
                    <a:pt x="18" y="391"/>
                  </a:cubicBezTo>
                  <a:cubicBezTo>
                    <a:pt x="0" y="391"/>
                    <a:pt x="0" y="391"/>
                    <a:pt x="0" y="391"/>
                  </a:cubicBezTo>
                  <a:cubicBezTo>
                    <a:pt x="0" y="252"/>
                    <a:pt x="0" y="252"/>
                    <a:pt x="0" y="252"/>
                  </a:cubicBezTo>
                  <a:cubicBezTo>
                    <a:pt x="19" y="252"/>
                    <a:pt x="19" y="252"/>
                    <a:pt x="19" y="252"/>
                  </a:cubicBezTo>
                  <a:cubicBezTo>
                    <a:pt x="25" y="287"/>
                    <a:pt x="35" y="314"/>
                    <a:pt x="46" y="332"/>
                  </a:cubicBezTo>
                  <a:cubicBezTo>
                    <a:pt x="66" y="364"/>
                    <a:pt x="92" y="379"/>
                    <a:pt x="124" y="379"/>
                  </a:cubicBezTo>
                  <a:cubicBezTo>
                    <a:pt x="143" y="379"/>
                    <a:pt x="159" y="374"/>
                    <a:pt x="171" y="363"/>
                  </a:cubicBezTo>
                  <a:cubicBezTo>
                    <a:pt x="187" y="348"/>
                    <a:pt x="195" y="329"/>
                    <a:pt x="195" y="304"/>
                  </a:cubicBezTo>
                  <a:cubicBezTo>
                    <a:pt x="195" y="275"/>
                    <a:pt x="183" y="253"/>
                    <a:pt x="158" y="239"/>
                  </a:cubicBezTo>
                  <a:cubicBezTo>
                    <a:pt x="150" y="234"/>
                    <a:pt x="129" y="226"/>
                    <a:pt x="94" y="214"/>
                  </a:cubicBezTo>
                  <a:cubicBezTo>
                    <a:pt x="69" y="206"/>
                    <a:pt x="49" y="195"/>
                    <a:pt x="35" y="183"/>
                  </a:cubicBezTo>
                  <a:cubicBezTo>
                    <a:pt x="14" y="164"/>
                    <a:pt x="3" y="139"/>
                    <a:pt x="3" y="107"/>
                  </a:cubicBezTo>
                  <a:cubicBezTo>
                    <a:pt x="3" y="72"/>
                    <a:pt x="15" y="45"/>
                    <a:pt x="38" y="25"/>
                  </a:cubicBezTo>
                  <a:cubicBezTo>
                    <a:pt x="56" y="8"/>
                    <a:pt x="79" y="0"/>
                    <a:pt x="105" y="0"/>
                  </a:cubicBezTo>
                  <a:cubicBezTo>
                    <a:pt x="119" y="0"/>
                    <a:pt x="134" y="2"/>
                    <a:pt x="148" y="8"/>
                  </a:cubicBezTo>
                  <a:cubicBezTo>
                    <a:pt x="153" y="10"/>
                    <a:pt x="162" y="15"/>
                    <a:pt x="175" y="23"/>
                  </a:cubicBezTo>
                  <a:cubicBezTo>
                    <a:pt x="179" y="25"/>
                    <a:pt x="182" y="26"/>
                    <a:pt x="185" y="26"/>
                  </a:cubicBezTo>
                  <a:cubicBezTo>
                    <a:pt x="191" y="26"/>
                    <a:pt x="197" y="20"/>
                    <a:pt x="203" y="8"/>
                  </a:cubicBezTo>
                  <a:cubicBezTo>
                    <a:pt x="219" y="8"/>
                    <a:pt x="219" y="8"/>
                    <a:pt x="219" y="8"/>
                  </a:cubicBezTo>
                  <a:cubicBezTo>
                    <a:pt x="219" y="134"/>
                    <a:pt x="219" y="134"/>
                    <a:pt x="219" y="134"/>
                  </a:cubicBezTo>
                  <a:lnTo>
                    <a:pt x="202"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1"/>
            <p:cNvSpPr>
              <a:spLocks/>
            </p:cNvSpPr>
            <p:nvPr userDrawn="1"/>
          </p:nvSpPr>
          <p:spPr bwMode="auto">
            <a:xfrm>
              <a:off x="2181225" y="5727700"/>
              <a:ext cx="422275" cy="601663"/>
            </a:xfrm>
            <a:custGeom>
              <a:avLst/>
              <a:gdLst>
                <a:gd name="T0" fmla="*/ 0 w 258"/>
                <a:gd name="T1" fmla="*/ 0 h 367"/>
                <a:gd name="T2" fmla="*/ 119 w 258"/>
                <a:gd name="T3" fmla="*/ 0 h 367"/>
                <a:gd name="T4" fmla="*/ 119 w 258"/>
                <a:gd name="T5" fmla="*/ 18 h 367"/>
                <a:gd name="T6" fmla="*/ 109 w 258"/>
                <a:gd name="T7" fmla="*/ 18 h 367"/>
                <a:gd name="T8" fmla="*/ 86 w 258"/>
                <a:gd name="T9" fmla="*/ 30 h 367"/>
                <a:gd name="T10" fmla="*/ 90 w 258"/>
                <a:gd name="T11" fmla="*/ 46 h 367"/>
                <a:gd name="T12" fmla="*/ 147 w 258"/>
                <a:gd name="T13" fmla="*/ 196 h 367"/>
                <a:gd name="T14" fmla="*/ 197 w 258"/>
                <a:gd name="T15" fmla="*/ 57 h 367"/>
                <a:gd name="T16" fmla="*/ 202 w 258"/>
                <a:gd name="T17" fmla="*/ 34 h 367"/>
                <a:gd name="T18" fmla="*/ 177 w 258"/>
                <a:gd name="T19" fmla="*/ 18 h 367"/>
                <a:gd name="T20" fmla="*/ 164 w 258"/>
                <a:gd name="T21" fmla="*/ 18 h 367"/>
                <a:gd name="T22" fmla="*/ 164 w 258"/>
                <a:gd name="T23" fmla="*/ 0 h 367"/>
                <a:gd name="T24" fmla="*/ 258 w 258"/>
                <a:gd name="T25" fmla="*/ 0 h 367"/>
                <a:gd name="T26" fmla="*/ 258 w 258"/>
                <a:gd name="T27" fmla="*/ 18 h 367"/>
                <a:gd name="T28" fmla="*/ 252 w 258"/>
                <a:gd name="T29" fmla="*/ 18 h 367"/>
                <a:gd name="T30" fmla="*/ 235 w 258"/>
                <a:gd name="T31" fmla="*/ 26 h 367"/>
                <a:gd name="T32" fmla="*/ 226 w 258"/>
                <a:gd name="T33" fmla="*/ 44 h 367"/>
                <a:gd name="T34" fmla="*/ 131 w 258"/>
                <a:gd name="T35" fmla="*/ 299 h 367"/>
                <a:gd name="T36" fmla="*/ 101 w 258"/>
                <a:gd name="T37" fmla="*/ 351 h 367"/>
                <a:gd name="T38" fmla="*/ 60 w 258"/>
                <a:gd name="T39" fmla="*/ 367 h 367"/>
                <a:gd name="T40" fmla="*/ 25 w 258"/>
                <a:gd name="T41" fmla="*/ 355 h 367"/>
                <a:gd name="T42" fmla="*/ 7 w 258"/>
                <a:gd name="T43" fmla="*/ 318 h 367"/>
                <a:gd name="T44" fmla="*/ 15 w 258"/>
                <a:gd name="T45" fmla="*/ 295 h 367"/>
                <a:gd name="T46" fmla="*/ 38 w 258"/>
                <a:gd name="T47" fmla="*/ 285 h 367"/>
                <a:gd name="T48" fmla="*/ 62 w 258"/>
                <a:gd name="T49" fmla="*/ 296 h 367"/>
                <a:gd name="T50" fmla="*/ 67 w 258"/>
                <a:gd name="T51" fmla="*/ 313 h 367"/>
                <a:gd name="T52" fmla="*/ 58 w 258"/>
                <a:gd name="T53" fmla="*/ 334 h 367"/>
                <a:gd name="T54" fmla="*/ 43 w 258"/>
                <a:gd name="T55" fmla="*/ 341 h 367"/>
                <a:gd name="T56" fmla="*/ 61 w 258"/>
                <a:gd name="T57" fmla="*/ 348 h 367"/>
                <a:gd name="T58" fmla="*/ 90 w 258"/>
                <a:gd name="T59" fmla="*/ 335 h 367"/>
                <a:gd name="T60" fmla="*/ 115 w 258"/>
                <a:gd name="T61" fmla="*/ 284 h 367"/>
                <a:gd name="T62" fmla="*/ 121 w 258"/>
                <a:gd name="T63" fmla="*/ 266 h 367"/>
                <a:gd name="T64" fmla="*/ 42 w 258"/>
                <a:gd name="T65" fmla="*/ 55 h 367"/>
                <a:gd name="T66" fmla="*/ 27 w 258"/>
                <a:gd name="T67" fmla="*/ 24 h 367"/>
                <a:gd name="T68" fmla="*/ 4 w 258"/>
                <a:gd name="T69" fmla="*/ 18 h 367"/>
                <a:gd name="T70" fmla="*/ 0 w 258"/>
                <a:gd name="T71" fmla="*/ 18 h 367"/>
                <a:gd name="T72" fmla="*/ 0 w 258"/>
                <a:gd name="T73"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8" h="367">
                  <a:moveTo>
                    <a:pt x="0" y="0"/>
                  </a:moveTo>
                  <a:cubicBezTo>
                    <a:pt x="119" y="0"/>
                    <a:pt x="119" y="0"/>
                    <a:pt x="119" y="0"/>
                  </a:cubicBezTo>
                  <a:cubicBezTo>
                    <a:pt x="119" y="18"/>
                    <a:pt x="119" y="18"/>
                    <a:pt x="119" y="18"/>
                  </a:cubicBezTo>
                  <a:cubicBezTo>
                    <a:pt x="109" y="18"/>
                    <a:pt x="109" y="18"/>
                    <a:pt x="109" y="18"/>
                  </a:cubicBezTo>
                  <a:cubicBezTo>
                    <a:pt x="93" y="18"/>
                    <a:pt x="86" y="22"/>
                    <a:pt x="86" y="30"/>
                  </a:cubicBezTo>
                  <a:cubicBezTo>
                    <a:pt x="86" y="34"/>
                    <a:pt x="87" y="39"/>
                    <a:pt x="90" y="46"/>
                  </a:cubicBezTo>
                  <a:cubicBezTo>
                    <a:pt x="147" y="196"/>
                    <a:pt x="147" y="196"/>
                    <a:pt x="147" y="196"/>
                  </a:cubicBezTo>
                  <a:cubicBezTo>
                    <a:pt x="197" y="57"/>
                    <a:pt x="197" y="57"/>
                    <a:pt x="197" y="57"/>
                  </a:cubicBezTo>
                  <a:cubicBezTo>
                    <a:pt x="200" y="47"/>
                    <a:pt x="202" y="39"/>
                    <a:pt x="202" y="34"/>
                  </a:cubicBezTo>
                  <a:cubicBezTo>
                    <a:pt x="202" y="23"/>
                    <a:pt x="194" y="18"/>
                    <a:pt x="177" y="18"/>
                  </a:cubicBezTo>
                  <a:cubicBezTo>
                    <a:pt x="164" y="18"/>
                    <a:pt x="164" y="18"/>
                    <a:pt x="164" y="18"/>
                  </a:cubicBezTo>
                  <a:cubicBezTo>
                    <a:pt x="164" y="0"/>
                    <a:pt x="164" y="0"/>
                    <a:pt x="164" y="0"/>
                  </a:cubicBezTo>
                  <a:cubicBezTo>
                    <a:pt x="258" y="0"/>
                    <a:pt x="258" y="0"/>
                    <a:pt x="258" y="0"/>
                  </a:cubicBezTo>
                  <a:cubicBezTo>
                    <a:pt x="258" y="18"/>
                    <a:pt x="258" y="18"/>
                    <a:pt x="258" y="18"/>
                  </a:cubicBezTo>
                  <a:cubicBezTo>
                    <a:pt x="252" y="18"/>
                    <a:pt x="252" y="18"/>
                    <a:pt x="252" y="18"/>
                  </a:cubicBezTo>
                  <a:cubicBezTo>
                    <a:pt x="245" y="18"/>
                    <a:pt x="240" y="20"/>
                    <a:pt x="235" y="26"/>
                  </a:cubicBezTo>
                  <a:cubicBezTo>
                    <a:pt x="232" y="29"/>
                    <a:pt x="229" y="36"/>
                    <a:pt x="226" y="44"/>
                  </a:cubicBezTo>
                  <a:cubicBezTo>
                    <a:pt x="131" y="299"/>
                    <a:pt x="131" y="299"/>
                    <a:pt x="131" y="299"/>
                  </a:cubicBezTo>
                  <a:cubicBezTo>
                    <a:pt x="122" y="323"/>
                    <a:pt x="112" y="340"/>
                    <a:pt x="101" y="351"/>
                  </a:cubicBezTo>
                  <a:cubicBezTo>
                    <a:pt x="90" y="362"/>
                    <a:pt x="76" y="367"/>
                    <a:pt x="60" y="367"/>
                  </a:cubicBezTo>
                  <a:cubicBezTo>
                    <a:pt x="46" y="367"/>
                    <a:pt x="34" y="363"/>
                    <a:pt x="25" y="355"/>
                  </a:cubicBezTo>
                  <a:cubicBezTo>
                    <a:pt x="13" y="345"/>
                    <a:pt x="7" y="333"/>
                    <a:pt x="7" y="318"/>
                  </a:cubicBezTo>
                  <a:cubicBezTo>
                    <a:pt x="7" y="309"/>
                    <a:pt x="10" y="301"/>
                    <a:pt x="15" y="295"/>
                  </a:cubicBezTo>
                  <a:cubicBezTo>
                    <a:pt x="21" y="288"/>
                    <a:pt x="28" y="285"/>
                    <a:pt x="38" y="285"/>
                  </a:cubicBezTo>
                  <a:cubicBezTo>
                    <a:pt x="49" y="285"/>
                    <a:pt x="57" y="289"/>
                    <a:pt x="62" y="296"/>
                  </a:cubicBezTo>
                  <a:cubicBezTo>
                    <a:pt x="66" y="301"/>
                    <a:pt x="67" y="306"/>
                    <a:pt x="67" y="313"/>
                  </a:cubicBezTo>
                  <a:cubicBezTo>
                    <a:pt x="67" y="321"/>
                    <a:pt x="64" y="328"/>
                    <a:pt x="58" y="334"/>
                  </a:cubicBezTo>
                  <a:cubicBezTo>
                    <a:pt x="54" y="337"/>
                    <a:pt x="49" y="340"/>
                    <a:pt x="43" y="341"/>
                  </a:cubicBezTo>
                  <a:cubicBezTo>
                    <a:pt x="48" y="345"/>
                    <a:pt x="53" y="348"/>
                    <a:pt x="61" y="348"/>
                  </a:cubicBezTo>
                  <a:cubicBezTo>
                    <a:pt x="72" y="348"/>
                    <a:pt x="82" y="343"/>
                    <a:pt x="90" y="335"/>
                  </a:cubicBezTo>
                  <a:cubicBezTo>
                    <a:pt x="97" y="327"/>
                    <a:pt x="106" y="310"/>
                    <a:pt x="115" y="284"/>
                  </a:cubicBezTo>
                  <a:cubicBezTo>
                    <a:pt x="121" y="266"/>
                    <a:pt x="121" y="266"/>
                    <a:pt x="121" y="266"/>
                  </a:cubicBezTo>
                  <a:cubicBezTo>
                    <a:pt x="42" y="55"/>
                    <a:pt x="42" y="55"/>
                    <a:pt x="42" y="55"/>
                  </a:cubicBezTo>
                  <a:cubicBezTo>
                    <a:pt x="36" y="38"/>
                    <a:pt x="31" y="28"/>
                    <a:pt x="27" y="24"/>
                  </a:cubicBezTo>
                  <a:cubicBezTo>
                    <a:pt x="21" y="20"/>
                    <a:pt x="14" y="18"/>
                    <a:pt x="4" y="18"/>
                  </a:cubicBezTo>
                  <a:cubicBezTo>
                    <a:pt x="0" y="18"/>
                    <a:pt x="0" y="18"/>
                    <a:pt x="0" y="18"/>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2"/>
            <p:cNvSpPr>
              <a:spLocks/>
            </p:cNvSpPr>
            <p:nvPr userDrawn="1"/>
          </p:nvSpPr>
          <p:spPr bwMode="auto">
            <a:xfrm>
              <a:off x="2609850" y="5716588"/>
              <a:ext cx="301625" cy="452438"/>
            </a:xfrm>
            <a:custGeom>
              <a:avLst/>
              <a:gdLst>
                <a:gd name="T0" fmla="*/ 168 w 184"/>
                <a:gd name="T1" fmla="*/ 6 h 275"/>
                <a:gd name="T2" fmla="*/ 168 w 184"/>
                <a:gd name="T3" fmla="*/ 89 h 275"/>
                <a:gd name="T4" fmla="*/ 151 w 184"/>
                <a:gd name="T5" fmla="*/ 89 h 275"/>
                <a:gd name="T6" fmla="*/ 84 w 184"/>
                <a:gd name="T7" fmla="*/ 17 h 275"/>
                <a:gd name="T8" fmla="*/ 53 w 184"/>
                <a:gd name="T9" fmla="*/ 28 h 275"/>
                <a:gd name="T10" fmla="*/ 41 w 184"/>
                <a:gd name="T11" fmla="*/ 57 h 275"/>
                <a:gd name="T12" fmla="*/ 58 w 184"/>
                <a:gd name="T13" fmla="*/ 88 h 275"/>
                <a:gd name="T14" fmla="*/ 89 w 184"/>
                <a:gd name="T15" fmla="*/ 101 h 275"/>
                <a:gd name="T16" fmla="*/ 152 w 184"/>
                <a:gd name="T17" fmla="*/ 128 h 275"/>
                <a:gd name="T18" fmla="*/ 184 w 184"/>
                <a:gd name="T19" fmla="*/ 191 h 275"/>
                <a:gd name="T20" fmla="*/ 157 w 184"/>
                <a:gd name="T21" fmla="*/ 255 h 275"/>
                <a:gd name="T22" fmla="*/ 98 w 184"/>
                <a:gd name="T23" fmla="*/ 275 h 275"/>
                <a:gd name="T24" fmla="*/ 60 w 184"/>
                <a:gd name="T25" fmla="*/ 268 h 275"/>
                <a:gd name="T26" fmla="*/ 34 w 184"/>
                <a:gd name="T27" fmla="*/ 254 h 275"/>
                <a:gd name="T28" fmla="*/ 26 w 184"/>
                <a:gd name="T29" fmla="*/ 252 h 275"/>
                <a:gd name="T30" fmla="*/ 16 w 184"/>
                <a:gd name="T31" fmla="*/ 270 h 275"/>
                <a:gd name="T32" fmla="*/ 0 w 184"/>
                <a:gd name="T33" fmla="*/ 270 h 275"/>
                <a:gd name="T34" fmla="*/ 0 w 184"/>
                <a:gd name="T35" fmla="*/ 172 h 275"/>
                <a:gd name="T36" fmla="*/ 16 w 184"/>
                <a:gd name="T37" fmla="*/ 172 h 275"/>
                <a:gd name="T38" fmla="*/ 37 w 184"/>
                <a:gd name="T39" fmla="*/ 224 h 275"/>
                <a:gd name="T40" fmla="*/ 63 w 184"/>
                <a:gd name="T41" fmla="*/ 248 h 275"/>
                <a:gd name="T42" fmla="*/ 97 w 184"/>
                <a:gd name="T43" fmla="*/ 257 h 275"/>
                <a:gd name="T44" fmla="*/ 132 w 184"/>
                <a:gd name="T45" fmla="*/ 242 h 275"/>
                <a:gd name="T46" fmla="*/ 144 w 184"/>
                <a:gd name="T47" fmla="*/ 210 h 275"/>
                <a:gd name="T48" fmla="*/ 120 w 184"/>
                <a:gd name="T49" fmla="*/ 170 h 275"/>
                <a:gd name="T50" fmla="*/ 70 w 184"/>
                <a:gd name="T51" fmla="*/ 149 h 275"/>
                <a:gd name="T52" fmla="*/ 28 w 184"/>
                <a:gd name="T53" fmla="*/ 128 h 275"/>
                <a:gd name="T54" fmla="*/ 3 w 184"/>
                <a:gd name="T55" fmla="*/ 72 h 275"/>
                <a:gd name="T56" fmla="*/ 26 w 184"/>
                <a:gd name="T57" fmla="*/ 19 h 275"/>
                <a:gd name="T58" fmla="*/ 80 w 184"/>
                <a:gd name="T59" fmla="*/ 0 h 275"/>
                <a:gd name="T60" fmla="*/ 134 w 184"/>
                <a:gd name="T61" fmla="*/ 16 h 275"/>
                <a:gd name="T62" fmla="*/ 143 w 184"/>
                <a:gd name="T63" fmla="*/ 19 h 275"/>
                <a:gd name="T64" fmla="*/ 151 w 184"/>
                <a:gd name="T65" fmla="*/ 6 h 275"/>
                <a:gd name="T66" fmla="*/ 168 w 184"/>
                <a:gd name="T67" fmla="*/ 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75">
                  <a:moveTo>
                    <a:pt x="168" y="6"/>
                  </a:moveTo>
                  <a:cubicBezTo>
                    <a:pt x="168" y="89"/>
                    <a:pt x="168" y="89"/>
                    <a:pt x="168" y="89"/>
                  </a:cubicBezTo>
                  <a:cubicBezTo>
                    <a:pt x="151" y="89"/>
                    <a:pt x="151" y="89"/>
                    <a:pt x="151" y="89"/>
                  </a:cubicBezTo>
                  <a:cubicBezTo>
                    <a:pt x="142" y="41"/>
                    <a:pt x="119" y="17"/>
                    <a:pt x="84" y="17"/>
                  </a:cubicBezTo>
                  <a:cubicBezTo>
                    <a:pt x="71" y="17"/>
                    <a:pt x="61" y="21"/>
                    <a:pt x="53" y="28"/>
                  </a:cubicBezTo>
                  <a:cubicBezTo>
                    <a:pt x="45" y="36"/>
                    <a:pt x="41" y="46"/>
                    <a:pt x="41" y="57"/>
                  </a:cubicBezTo>
                  <a:cubicBezTo>
                    <a:pt x="41" y="70"/>
                    <a:pt x="47" y="80"/>
                    <a:pt x="58" y="88"/>
                  </a:cubicBezTo>
                  <a:cubicBezTo>
                    <a:pt x="64" y="92"/>
                    <a:pt x="74" y="96"/>
                    <a:pt x="89" y="101"/>
                  </a:cubicBezTo>
                  <a:cubicBezTo>
                    <a:pt x="120" y="111"/>
                    <a:pt x="142" y="120"/>
                    <a:pt x="152" y="128"/>
                  </a:cubicBezTo>
                  <a:cubicBezTo>
                    <a:pt x="173" y="144"/>
                    <a:pt x="184" y="165"/>
                    <a:pt x="184" y="191"/>
                  </a:cubicBezTo>
                  <a:cubicBezTo>
                    <a:pt x="184" y="217"/>
                    <a:pt x="175" y="238"/>
                    <a:pt x="157" y="255"/>
                  </a:cubicBezTo>
                  <a:cubicBezTo>
                    <a:pt x="141" y="269"/>
                    <a:pt x="122" y="275"/>
                    <a:pt x="98" y="275"/>
                  </a:cubicBezTo>
                  <a:cubicBezTo>
                    <a:pt x="84" y="275"/>
                    <a:pt x="71" y="273"/>
                    <a:pt x="60" y="268"/>
                  </a:cubicBezTo>
                  <a:cubicBezTo>
                    <a:pt x="55" y="266"/>
                    <a:pt x="46" y="262"/>
                    <a:pt x="34" y="254"/>
                  </a:cubicBezTo>
                  <a:cubicBezTo>
                    <a:pt x="31" y="253"/>
                    <a:pt x="28" y="252"/>
                    <a:pt x="26" y="252"/>
                  </a:cubicBezTo>
                  <a:cubicBezTo>
                    <a:pt x="23" y="252"/>
                    <a:pt x="19" y="258"/>
                    <a:pt x="16" y="270"/>
                  </a:cubicBezTo>
                  <a:cubicBezTo>
                    <a:pt x="0" y="270"/>
                    <a:pt x="0" y="270"/>
                    <a:pt x="0" y="270"/>
                  </a:cubicBezTo>
                  <a:cubicBezTo>
                    <a:pt x="0" y="172"/>
                    <a:pt x="0" y="172"/>
                    <a:pt x="0" y="172"/>
                  </a:cubicBezTo>
                  <a:cubicBezTo>
                    <a:pt x="16" y="172"/>
                    <a:pt x="16" y="172"/>
                    <a:pt x="16" y="172"/>
                  </a:cubicBezTo>
                  <a:cubicBezTo>
                    <a:pt x="23" y="196"/>
                    <a:pt x="30" y="214"/>
                    <a:pt x="37" y="224"/>
                  </a:cubicBezTo>
                  <a:cubicBezTo>
                    <a:pt x="44" y="234"/>
                    <a:pt x="53" y="242"/>
                    <a:pt x="63" y="248"/>
                  </a:cubicBezTo>
                  <a:cubicBezTo>
                    <a:pt x="74" y="254"/>
                    <a:pt x="85" y="257"/>
                    <a:pt x="97" y="257"/>
                  </a:cubicBezTo>
                  <a:cubicBezTo>
                    <a:pt x="112" y="257"/>
                    <a:pt x="123" y="252"/>
                    <a:pt x="132" y="242"/>
                  </a:cubicBezTo>
                  <a:cubicBezTo>
                    <a:pt x="140" y="233"/>
                    <a:pt x="144" y="222"/>
                    <a:pt x="144" y="210"/>
                  </a:cubicBezTo>
                  <a:cubicBezTo>
                    <a:pt x="144" y="193"/>
                    <a:pt x="136" y="179"/>
                    <a:pt x="120" y="170"/>
                  </a:cubicBezTo>
                  <a:cubicBezTo>
                    <a:pt x="112" y="164"/>
                    <a:pt x="95" y="158"/>
                    <a:pt x="70" y="149"/>
                  </a:cubicBezTo>
                  <a:cubicBezTo>
                    <a:pt x="53" y="144"/>
                    <a:pt x="39" y="137"/>
                    <a:pt x="28" y="128"/>
                  </a:cubicBezTo>
                  <a:cubicBezTo>
                    <a:pt x="11" y="115"/>
                    <a:pt x="3" y="97"/>
                    <a:pt x="3" y="72"/>
                  </a:cubicBezTo>
                  <a:cubicBezTo>
                    <a:pt x="3" y="50"/>
                    <a:pt x="10" y="32"/>
                    <a:pt x="26" y="19"/>
                  </a:cubicBezTo>
                  <a:cubicBezTo>
                    <a:pt x="40" y="6"/>
                    <a:pt x="58" y="0"/>
                    <a:pt x="80" y="0"/>
                  </a:cubicBezTo>
                  <a:cubicBezTo>
                    <a:pt x="99" y="0"/>
                    <a:pt x="117" y="5"/>
                    <a:pt x="134" y="16"/>
                  </a:cubicBezTo>
                  <a:cubicBezTo>
                    <a:pt x="138" y="18"/>
                    <a:pt x="141" y="19"/>
                    <a:pt x="143" y="19"/>
                  </a:cubicBezTo>
                  <a:cubicBezTo>
                    <a:pt x="146" y="19"/>
                    <a:pt x="149" y="14"/>
                    <a:pt x="151" y="6"/>
                  </a:cubicBezTo>
                  <a:lnTo>
                    <a:pt x="16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3"/>
            <p:cNvSpPr>
              <a:spLocks/>
            </p:cNvSpPr>
            <p:nvPr userDrawn="1"/>
          </p:nvSpPr>
          <p:spPr bwMode="auto">
            <a:xfrm>
              <a:off x="2922588" y="5562600"/>
              <a:ext cx="288925" cy="606425"/>
            </a:xfrm>
            <a:custGeom>
              <a:avLst/>
              <a:gdLst>
                <a:gd name="T0" fmla="*/ 90 w 176"/>
                <a:gd name="T1" fmla="*/ 119 h 369"/>
                <a:gd name="T2" fmla="*/ 90 w 176"/>
                <a:gd name="T3" fmla="*/ 278 h 369"/>
                <a:gd name="T4" fmla="*/ 94 w 176"/>
                <a:gd name="T5" fmla="*/ 323 h 369"/>
                <a:gd name="T6" fmla="*/ 122 w 176"/>
                <a:gd name="T7" fmla="*/ 345 h 369"/>
                <a:gd name="T8" fmla="*/ 149 w 176"/>
                <a:gd name="T9" fmla="*/ 326 h 369"/>
                <a:gd name="T10" fmla="*/ 157 w 176"/>
                <a:gd name="T11" fmla="*/ 281 h 369"/>
                <a:gd name="T12" fmla="*/ 157 w 176"/>
                <a:gd name="T13" fmla="*/ 273 h 369"/>
                <a:gd name="T14" fmla="*/ 176 w 176"/>
                <a:gd name="T15" fmla="*/ 273 h 369"/>
                <a:gd name="T16" fmla="*/ 176 w 176"/>
                <a:gd name="T17" fmla="*/ 284 h 369"/>
                <a:gd name="T18" fmla="*/ 159 w 176"/>
                <a:gd name="T19" fmla="*/ 347 h 369"/>
                <a:gd name="T20" fmla="*/ 108 w 176"/>
                <a:gd name="T21" fmla="*/ 369 h 369"/>
                <a:gd name="T22" fmla="*/ 58 w 176"/>
                <a:gd name="T23" fmla="*/ 350 h 369"/>
                <a:gd name="T24" fmla="*/ 43 w 176"/>
                <a:gd name="T25" fmla="*/ 315 h 369"/>
                <a:gd name="T26" fmla="*/ 42 w 176"/>
                <a:gd name="T27" fmla="*/ 278 h 369"/>
                <a:gd name="T28" fmla="*/ 42 w 176"/>
                <a:gd name="T29" fmla="*/ 119 h 369"/>
                <a:gd name="T30" fmla="*/ 0 w 176"/>
                <a:gd name="T31" fmla="*/ 119 h 369"/>
                <a:gd name="T32" fmla="*/ 0 w 176"/>
                <a:gd name="T33" fmla="*/ 103 h 369"/>
                <a:gd name="T34" fmla="*/ 54 w 176"/>
                <a:gd name="T35" fmla="*/ 72 h 369"/>
                <a:gd name="T36" fmla="*/ 74 w 176"/>
                <a:gd name="T37" fmla="*/ 0 h 369"/>
                <a:gd name="T38" fmla="*/ 90 w 176"/>
                <a:gd name="T39" fmla="*/ 0 h 369"/>
                <a:gd name="T40" fmla="*/ 90 w 176"/>
                <a:gd name="T41" fmla="*/ 100 h 369"/>
                <a:gd name="T42" fmla="*/ 167 w 176"/>
                <a:gd name="T43" fmla="*/ 100 h 369"/>
                <a:gd name="T44" fmla="*/ 167 w 176"/>
                <a:gd name="T45" fmla="*/ 119 h 369"/>
                <a:gd name="T46" fmla="*/ 90 w 176"/>
                <a:gd name="T47" fmla="*/ 1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6" h="369">
                  <a:moveTo>
                    <a:pt x="90" y="119"/>
                  </a:moveTo>
                  <a:cubicBezTo>
                    <a:pt x="90" y="278"/>
                    <a:pt x="90" y="278"/>
                    <a:pt x="90" y="278"/>
                  </a:cubicBezTo>
                  <a:cubicBezTo>
                    <a:pt x="90" y="299"/>
                    <a:pt x="92" y="314"/>
                    <a:pt x="94" y="323"/>
                  </a:cubicBezTo>
                  <a:cubicBezTo>
                    <a:pt x="99" y="338"/>
                    <a:pt x="108" y="345"/>
                    <a:pt x="122" y="345"/>
                  </a:cubicBezTo>
                  <a:cubicBezTo>
                    <a:pt x="134" y="345"/>
                    <a:pt x="143" y="339"/>
                    <a:pt x="149" y="326"/>
                  </a:cubicBezTo>
                  <a:cubicBezTo>
                    <a:pt x="154" y="314"/>
                    <a:pt x="157" y="299"/>
                    <a:pt x="157" y="281"/>
                  </a:cubicBezTo>
                  <a:cubicBezTo>
                    <a:pt x="157" y="273"/>
                    <a:pt x="157" y="273"/>
                    <a:pt x="157" y="273"/>
                  </a:cubicBezTo>
                  <a:cubicBezTo>
                    <a:pt x="176" y="273"/>
                    <a:pt x="176" y="273"/>
                    <a:pt x="176" y="273"/>
                  </a:cubicBezTo>
                  <a:cubicBezTo>
                    <a:pt x="176" y="284"/>
                    <a:pt x="176" y="284"/>
                    <a:pt x="176" y="284"/>
                  </a:cubicBezTo>
                  <a:cubicBezTo>
                    <a:pt x="176" y="310"/>
                    <a:pt x="170" y="331"/>
                    <a:pt x="159" y="347"/>
                  </a:cubicBezTo>
                  <a:cubicBezTo>
                    <a:pt x="148" y="362"/>
                    <a:pt x="131" y="369"/>
                    <a:pt x="108" y="369"/>
                  </a:cubicBezTo>
                  <a:cubicBezTo>
                    <a:pt x="85" y="369"/>
                    <a:pt x="69" y="363"/>
                    <a:pt x="58" y="350"/>
                  </a:cubicBezTo>
                  <a:cubicBezTo>
                    <a:pt x="50" y="340"/>
                    <a:pt x="45" y="329"/>
                    <a:pt x="43" y="315"/>
                  </a:cubicBezTo>
                  <a:cubicBezTo>
                    <a:pt x="42" y="305"/>
                    <a:pt x="42" y="293"/>
                    <a:pt x="42" y="278"/>
                  </a:cubicBezTo>
                  <a:cubicBezTo>
                    <a:pt x="42" y="119"/>
                    <a:pt x="42" y="119"/>
                    <a:pt x="42" y="119"/>
                  </a:cubicBezTo>
                  <a:cubicBezTo>
                    <a:pt x="0" y="119"/>
                    <a:pt x="0" y="119"/>
                    <a:pt x="0" y="119"/>
                  </a:cubicBezTo>
                  <a:cubicBezTo>
                    <a:pt x="0" y="103"/>
                    <a:pt x="0" y="103"/>
                    <a:pt x="0" y="103"/>
                  </a:cubicBezTo>
                  <a:cubicBezTo>
                    <a:pt x="27" y="97"/>
                    <a:pt x="45" y="86"/>
                    <a:pt x="54" y="72"/>
                  </a:cubicBezTo>
                  <a:cubicBezTo>
                    <a:pt x="64" y="57"/>
                    <a:pt x="71" y="33"/>
                    <a:pt x="74" y="0"/>
                  </a:cubicBezTo>
                  <a:cubicBezTo>
                    <a:pt x="90" y="0"/>
                    <a:pt x="90" y="0"/>
                    <a:pt x="90" y="0"/>
                  </a:cubicBezTo>
                  <a:cubicBezTo>
                    <a:pt x="90" y="100"/>
                    <a:pt x="90" y="100"/>
                    <a:pt x="90" y="100"/>
                  </a:cubicBezTo>
                  <a:cubicBezTo>
                    <a:pt x="167" y="100"/>
                    <a:pt x="167" y="100"/>
                    <a:pt x="167" y="100"/>
                  </a:cubicBezTo>
                  <a:cubicBezTo>
                    <a:pt x="167" y="119"/>
                    <a:pt x="167" y="119"/>
                    <a:pt x="167" y="119"/>
                  </a:cubicBezTo>
                  <a:lnTo>
                    <a:pt x="90"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14"/>
            <p:cNvSpPr>
              <a:spLocks noEditPoints="1"/>
            </p:cNvSpPr>
            <p:nvPr userDrawn="1"/>
          </p:nvSpPr>
          <p:spPr bwMode="auto">
            <a:xfrm>
              <a:off x="3238500" y="5713413"/>
              <a:ext cx="344488" cy="460375"/>
            </a:xfrm>
            <a:custGeom>
              <a:avLst/>
              <a:gdLst>
                <a:gd name="T0" fmla="*/ 210 w 210"/>
                <a:gd name="T1" fmla="*/ 138 h 280"/>
                <a:gd name="T2" fmla="*/ 53 w 210"/>
                <a:gd name="T3" fmla="*/ 138 h 280"/>
                <a:gd name="T4" fmla="*/ 65 w 210"/>
                <a:gd name="T5" fmla="*/ 220 h 280"/>
                <a:gd name="T6" fmla="*/ 119 w 210"/>
                <a:gd name="T7" fmla="*/ 257 h 280"/>
                <a:gd name="T8" fmla="*/ 168 w 210"/>
                <a:gd name="T9" fmla="*/ 234 h 280"/>
                <a:gd name="T10" fmla="*/ 190 w 210"/>
                <a:gd name="T11" fmla="*/ 198 h 280"/>
                <a:gd name="T12" fmla="*/ 207 w 210"/>
                <a:gd name="T13" fmla="*/ 207 h 280"/>
                <a:gd name="T14" fmla="*/ 110 w 210"/>
                <a:gd name="T15" fmla="*/ 280 h 280"/>
                <a:gd name="T16" fmla="*/ 36 w 210"/>
                <a:gd name="T17" fmla="*/ 249 h 280"/>
                <a:gd name="T18" fmla="*/ 0 w 210"/>
                <a:gd name="T19" fmla="*/ 138 h 280"/>
                <a:gd name="T20" fmla="*/ 36 w 210"/>
                <a:gd name="T21" fmla="*/ 31 h 280"/>
                <a:gd name="T22" fmla="*/ 104 w 210"/>
                <a:gd name="T23" fmla="*/ 0 h 280"/>
                <a:gd name="T24" fmla="*/ 193 w 210"/>
                <a:gd name="T25" fmla="*/ 59 h 280"/>
                <a:gd name="T26" fmla="*/ 210 w 210"/>
                <a:gd name="T27" fmla="*/ 138 h 280"/>
                <a:gd name="T28" fmla="*/ 157 w 210"/>
                <a:gd name="T29" fmla="*/ 118 h 280"/>
                <a:gd name="T30" fmla="*/ 150 w 210"/>
                <a:gd name="T31" fmla="*/ 60 h 280"/>
                <a:gd name="T32" fmla="*/ 107 w 210"/>
                <a:gd name="T33" fmla="*/ 20 h 280"/>
                <a:gd name="T34" fmla="*/ 60 w 210"/>
                <a:gd name="T35" fmla="*/ 69 h 280"/>
                <a:gd name="T36" fmla="*/ 54 w 210"/>
                <a:gd name="T37" fmla="*/ 118 h 280"/>
                <a:gd name="T38" fmla="*/ 157 w 210"/>
                <a:gd name="T39"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80">
                  <a:moveTo>
                    <a:pt x="210" y="138"/>
                  </a:moveTo>
                  <a:cubicBezTo>
                    <a:pt x="53" y="138"/>
                    <a:pt x="53" y="138"/>
                    <a:pt x="53" y="138"/>
                  </a:cubicBezTo>
                  <a:cubicBezTo>
                    <a:pt x="54" y="175"/>
                    <a:pt x="58" y="202"/>
                    <a:pt x="65" y="220"/>
                  </a:cubicBezTo>
                  <a:cubicBezTo>
                    <a:pt x="75" y="245"/>
                    <a:pt x="93" y="257"/>
                    <a:pt x="119" y="257"/>
                  </a:cubicBezTo>
                  <a:cubicBezTo>
                    <a:pt x="139" y="257"/>
                    <a:pt x="155" y="249"/>
                    <a:pt x="168" y="234"/>
                  </a:cubicBezTo>
                  <a:cubicBezTo>
                    <a:pt x="176" y="225"/>
                    <a:pt x="183" y="213"/>
                    <a:pt x="190" y="198"/>
                  </a:cubicBezTo>
                  <a:cubicBezTo>
                    <a:pt x="207" y="207"/>
                    <a:pt x="207" y="207"/>
                    <a:pt x="207" y="207"/>
                  </a:cubicBezTo>
                  <a:cubicBezTo>
                    <a:pt x="183" y="256"/>
                    <a:pt x="151" y="280"/>
                    <a:pt x="110" y="280"/>
                  </a:cubicBezTo>
                  <a:cubicBezTo>
                    <a:pt x="80" y="280"/>
                    <a:pt x="55" y="269"/>
                    <a:pt x="36" y="249"/>
                  </a:cubicBezTo>
                  <a:cubicBezTo>
                    <a:pt x="12" y="223"/>
                    <a:pt x="0" y="186"/>
                    <a:pt x="0" y="138"/>
                  </a:cubicBezTo>
                  <a:cubicBezTo>
                    <a:pt x="0" y="94"/>
                    <a:pt x="12" y="58"/>
                    <a:pt x="36" y="31"/>
                  </a:cubicBezTo>
                  <a:cubicBezTo>
                    <a:pt x="55" y="10"/>
                    <a:pt x="77" y="0"/>
                    <a:pt x="104" y="0"/>
                  </a:cubicBezTo>
                  <a:cubicBezTo>
                    <a:pt x="143" y="0"/>
                    <a:pt x="173" y="19"/>
                    <a:pt x="193" y="59"/>
                  </a:cubicBezTo>
                  <a:cubicBezTo>
                    <a:pt x="203" y="80"/>
                    <a:pt x="209" y="106"/>
                    <a:pt x="210" y="138"/>
                  </a:cubicBezTo>
                  <a:close/>
                  <a:moveTo>
                    <a:pt x="157" y="118"/>
                  </a:moveTo>
                  <a:cubicBezTo>
                    <a:pt x="157" y="94"/>
                    <a:pt x="155" y="75"/>
                    <a:pt x="150" y="60"/>
                  </a:cubicBezTo>
                  <a:cubicBezTo>
                    <a:pt x="141" y="33"/>
                    <a:pt x="126" y="20"/>
                    <a:pt x="107" y="20"/>
                  </a:cubicBezTo>
                  <a:cubicBezTo>
                    <a:pt x="85" y="20"/>
                    <a:pt x="69" y="36"/>
                    <a:pt x="60" y="69"/>
                  </a:cubicBezTo>
                  <a:cubicBezTo>
                    <a:pt x="56" y="82"/>
                    <a:pt x="54" y="99"/>
                    <a:pt x="54" y="118"/>
                  </a:cubicBezTo>
                  <a:lnTo>
                    <a:pt x="157"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p:cNvSpPr>
              <a:spLocks/>
            </p:cNvSpPr>
            <p:nvPr userDrawn="1"/>
          </p:nvSpPr>
          <p:spPr bwMode="auto">
            <a:xfrm>
              <a:off x="3616325" y="5716588"/>
              <a:ext cx="649288" cy="442913"/>
            </a:xfrm>
            <a:custGeom>
              <a:avLst/>
              <a:gdLst>
                <a:gd name="T0" fmla="*/ 312 w 396"/>
                <a:gd name="T1" fmla="*/ 270 h 270"/>
                <a:gd name="T2" fmla="*/ 312 w 396"/>
                <a:gd name="T3" fmla="*/ 108 h 270"/>
                <a:gd name="T4" fmla="*/ 305 w 396"/>
                <a:gd name="T5" fmla="*/ 44 h 270"/>
                <a:gd name="T6" fmla="*/ 275 w 396"/>
                <a:gd name="T7" fmla="*/ 25 h 270"/>
                <a:gd name="T8" fmla="*/ 236 w 396"/>
                <a:gd name="T9" fmla="*/ 52 h 270"/>
                <a:gd name="T10" fmla="*/ 225 w 396"/>
                <a:gd name="T11" fmla="*/ 84 h 270"/>
                <a:gd name="T12" fmla="*/ 223 w 396"/>
                <a:gd name="T13" fmla="*/ 134 h 270"/>
                <a:gd name="T14" fmla="*/ 223 w 396"/>
                <a:gd name="T15" fmla="*/ 205 h 270"/>
                <a:gd name="T16" fmla="*/ 230 w 396"/>
                <a:gd name="T17" fmla="*/ 245 h 270"/>
                <a:gd name="T18" fmla="*/ 252 w 396"/>
                <a:gd name="T19" fmla="*/ 252 h 270"/>
                <a:gd name="T20" fmla="*/ 261 w 396"/>
                <a:gd name="T21" fmla="*/ 252 h 270"/>
                <a:gd name="T22" fmla="*/ 261 w 396"/>
                <a:gd name="T23" fmla="*/ 270 h 270"/>
                <a:gd name="T24" fmla="*/ 175 w 396"/>
                <a:gd name="T25" fmla="*/ 270 h 270"/>
                <a:gd name="T26" fmla="*/ 175 w 396"/>
                <a:gd name="T27" fmla="*/ 117 h 270"/>
                <a:gd name="T28" fmla="*/ 173 w 396"/>
                <a:gd name="T29" fmla="*/ 66 h 270"/>
                <a:gd name="T30" fmla="*/ 137 w 396"/>
                <a:gd name="T31" fmla="*/ 25 h 270"/>
                <a:gd name="T32" fmla="*/ 99 w 396"/>
                <a:gd name="T33" fmla="*/ 53 h 270"/>
                <a:gd name="T34" fmla="*/ 89 w 396"/>
                <a:gd name="T35" fmla="*/ 81 h 270"/>
                <a:gd name="T36" fmla="*/ 86 w 396"/>
                <a:gd name="T37" fmla="*/ 134 h 270"/>
                <a:gd name="T38" fmla="*/ 86 w 396"/>
                <a:gd name="T39" fmla="*/ 205 h 270"/>
                <a:gd name="T40" fmla="*/ 93 w 396"/>
                <a:gd name="T41" fmla="*/ 245 h 270"/>
                <a:gd name="T42" fmla="*/ 116 w 396"/>
                <a:gd name="T43" fmla="*/ 252 h 270"/>
                <a:gd name="T44" fmla="*/ 124 w 396"/>
                <a:gd name="T45" fmla="*/ 252 h 270"/>
                <a:gd name="T46" fmla="*/ 124 w 396"/>
                <a:gd name="T47" fmla="*/ 270 h 270"/>
                <a:gd name="T48" fmla="*/ 0 w 396"/>
                <a:gd name="T49" fmla="*/ 270 h 270"/>
                <a:gd name="T50" fmla="*/ 0 w 396"/>
                <a:gd name="T51" fmla="*/ 252 h 270"/>
                <a:gd name="T52" fmla="*/ 9 w 396"/>
                <a:gd name="T53" fmla="*/ 252 h 270"/>
                <a:gd name="T54" fmla="*/ 31 w 396"/>
                <a:gd name="T55" fmla="*/ 245 h 270"/>
                <a:gd name="T56" fmla="*/ 38 w 396"/>
                <a:gd name="T57" fmla="*/ 205 h 270"/>
                <a:gd name="T58" fmla="*/ 38 w 396"/>
                <a:gd name="T59" fmla="*/ 69 h 270"/>
                <a:gd name="T60" fmla="*/ 31 w 396"/>
                <a:gd name="T61" fmla="*/ 30 h 270"/>
                <a:gd name="T62" fmla="*/ 9 w 396"/>
                <a:gd name="T63" fmla="*/ 24 h 270"/>
                <a:gd name="T64" fmla="*/ 2 w 396"/>
                <a:gd name="T65" fmla="*/ 24 h 270"/>
                <a:gd name="T66" fmla="*/ 2 w 396"/>
                <a:gd name="T67" fmla="*/ 6 h 270"/>
                <a:gd name="T68" fmla="*/ 83 w 396"/>
                <a:gd name="T69" fmla="*/ 2 h 270"/>
                <a:gd name="T70" fmla="*/ 83 w 396"/>
                <a:gd name="T71" fmla="*/ 49 h 270"/>
                <a:gd name="T72" fmla="*/ 99 w 396"/>
                <a:gd name="T73" fmla="*/ 23 h 270"/>
                <a:gd name="T74" fmla="*/ 150 w 396"/>
                <a:gd name="T75" fmla="*/ 0 h 270"/>
                <a:gd name="T76" fmla="*/ 217 w 396"/>
                <a:gd name="T77" fmla="*/ 52 h 270"/>
                <a:gd name="T78" fmla="*/ 288 w 396"/>
                <a:gd name="T79" fmla="*/ 0 h 270"/>
                <a:gd name="T80" fmla="*/ 346 w 396"/>
                <a:gd name="T81" fmla="*/ 30 h 270"/>
                <a:gd name="T82" fmla="*/ 358 w 396"/>
                <a:gd name="T83" fmla="*/ 66 h 270"/>
                <a:gd name="T84" fmla="*/ 360 w 396"/>
                <a:gd name="T85" fmla="*/ 102 h 270"/>
                <a:gd name="T86" fmla="*/ 360 w 396"/>
                <a:gd name="T87" fmla="*/ 205 h 270"/>
                <a:gd name="T88" fmla="*/ 367 w 396"/>
                <a:gd name="T89" fmla="*/ 245 h 270"/>
                <a:gd name="T90" fmla="*/ 389 w 396"/>
                <a:gd name="T91" fmla="*/ 252 h 270"/>
                <a:gd name="T92" fmla="*/ 396 w 396"/>
                <a:gd name="T93" fmla="*/ 252 h 270"/>
                <a:gd name="T94" fmla="*/ 396 w 396"/>
                <a:gd name="T95" fmla="*/ 270 h 270"/>
                <a:gd name="T96" fmla="*/ 312 w 396"/>
                <a:gd name="T97"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6" h="270">
                  <a:moveTo>
                    <a:pt x="312" y="270"/>
                  </a:moveTo>
                  <a:cubicBezTo>
                    <a:pt x="312" y="108"/>
                    <a:pt x="312" y="108"/>
                    <a:pt x="312" y="108"/>
                  </a:cubicBezTo>
                  <a:cubicBezTo>
                    <a:pt x="312" y="75"/>
                    <a:pt x="309" y="54"/>
                    <a:pt x="305" y="44"/>
                  </a:cubicBezTo>
                  <a:cubicBezTo>
                    <a:pt x="298" y="31"/>
                    <a:pt x="288" y="25"/>
                    <a:pt x="275" y="25"/>
                  </a:cubicBezTo>
                  <a:cubicBezTo>
                    <a:pt x="259" y="25"/>
                    <a:pt x="246" y="34"/>
                    <a:pt x="236" y="52"/>
                  </a:cubicBezTo>
                  <a:cubicBezTo>
                    <a:pt x="231" y="62"/>
                    <a:pt x="227" y="73"/>
                    <a:pt x="225" y="84"/>
                  </a:cubicBezTo>
                  <a:cubicBezTo>
                    <a:pt x="224" y="93"/>
                    <a:pt x="223" y="109"/>
                    <a:pt x="223" y="134"/>
                  </a:cubicBezTo>
                  <a:cubicBezTo>
                    <a:pt x="223" y="205"/>
                    <a:pt x="223" y="205"/>
                    <a:pt x="223" y="205"/>
                  </a:cubicBezTo>
                  <a:cubicBezTo>
                    <a:pt x="223" y="226"/>
                    <a:pt x="226" y="240"/>
                    <a:pt x="230" y="245"/>
                  </a:cubicBezTo>
                  <a:cubicBezTo>
                    <a:pt x="234" y="250"/>
                    <a:pt x="242" y="252"/>
                    <a:pt x="252" y="252"/>
                  </a:cubicBezTo>
                  <a:cubicBezTo>
                    <a:pt x="261" y="252"/>
                    <a:pt x="261" y="252"/>
                    <a:pt x="261" y="252"/>
                  </a:cubicBezTo>
                  <a:cubicBezTo>
                    <a:pt x="261" y="270"/>
                    <a:pt x="261" y="270"/>
                    <a:pt x="261" y="270"/>
                  </a:cubicBezTo>
                  <a:cubicBezTo>
                    <a:pt x="175" y="270"/>
                    <a:pt x="175" y="270"/>
                    <a:pt x="175" y="270"/>
                  </a:cubicBezTo>
                  <a:cubicBezTo>
                    <a:pt x="175" y="117"/>
                    <a:pt x="175" y="117"/>
                    <a:pt x="175" y="117"/>
                  </a:cubicBezTo>
                  <a:cubicBezTo>
                    <a:pt x="175" y="91"/>
                    <a:pt x="174" y="74"/>
                    <a:pt x="173" y="66"/>
                  </a:cubicBezTo>
                  <a:cubicBezTo>
                    <a:pt x="169" y="39"/>
                    <a:pt x="157" y="25"/>
                    <a:pt x="137" y="25"/>
                  </a:cubicBezTo>
                  <a:cubicBezTo>
                    <a:pt x="121" y="25"/>
                    <a:pt x="108" y="34"/>
                    <a:pt x="99" y="53"/>
                  </a:cubicBezTo>
                  <a:cubicBezTo>
                    <a:pt x="94" y="62"/>
                    <a:pt x="91" y="71"/>
                    <a:pt x="89" y="81"/>
                  </a:cubicBezTo>
                  <a:cubicBezTo>
                    <a:pt x="87" y="91"/>
                    <a:pt x="86" y="108"/>
                    <a:pt x="86" y="134"/>
                  </a:cubicBezTo>
                  <a:cubicBezTo>
                    <a:pt x="86" y="205"/>
                    <a:pt x="86" y="205"/>
                    <a:pt x="86" y="205"/>
                  </a:cubicBezTo>
                  <a:cubicBezTo>
                    <a:pt x="86" y="227"/>
                    <a:pt x="89" y="240"/>
                    <a:pt x="93" y="245"/>
                  </a:cubicBezTo>
                  <a:cubicBezTo>
                    <a:pt x="97" y="250"/>
                    <a:pt x="105" y="252"/>
                    <a:pt x="116" y="252"/>
                  </a:cubicBezTo>
                  <a:cubicBezTo>
                    <a:pt x="124" y="252"/>
                    <a:pt x="124" y="252"/>
                    <a:pt x="124" y="252"/>
                  </a:cubicBezTo>
                  <a:cubicBezTo>
                    <a:pt x="124" y="270"/>
                    <a:pt x="124" y="270"/>
                    <a:pt x="124" y="270"/>
                  </a:cubicBezTo>
                  <a:cubicBezTo>
                    <a:pt x="0" y="270"/>
                    <a:pt x="0" y="270"/>
                    <a:pt x="0" y="270"/>
                  </a:cubicBezTo>
                  <a:cubicBezTo>
                    <a:pt x="0" y="252"/>
                    <a:pt x="0" y="252"/>
                    <a:pt x="0" y="252"/>
                  </a:cubicBezTo>
                  <a:cubicBezTo>
                    <a:pt x="9" y="252"/>
                    <a:pt x="9" y="252"/>
                    <a:pt x="9" y="252"/>
                  </a:cubicBezTo>
                  <a:cubicBezTo>
                    <a:pt x="19" y="252"/>
                    <a:pt x="27" y="250"/>
                    <a:pt x="31" y="245"/>
                  </a:cubicBezTo>
                  <a:cubicBezTo>
                    <a:pt x="36" y="240"/>
                    <a:pt x="38" y="226"/>
                    <a:pt x="38" y="205"/>
                  </a:cubicBezTo>
                  <a:cubicBezTo>
                    <a:pt x="38" y="69"/>
                    <a:pt x="38" y="69"/>
                    <a:pt x="38" y="69"/>
                  </a:cubicBezTo>
                  <a:cubicBezTo>
                    <a:pt x="38" y="49"/>
                    <a:pt x="36" y="36"/>
                    <a:pt x="31" y="30"/>
                  </a:cubicBezTo>
                  <a:cubicBezTo>
                    <a:pt x="27" y="26"/>
                    <a:pt x="19" y="24"/>
                    <a:pt x="9" y="24"/>
                  </a:cubicBezTo>
                  <a:cubicBezTo>
                    <a:pt x="2" y="24"/>
                    <a:pt x="2" y="24"/>
                    <a:pt x="2" y="24"/>
                  </a:cubicBezTo>
                  <a:cubicBezTo>
                    <a:pt x="2" y="6"/>
                    <a:pt x="2" y="6"/>
                    <a:pt x="2" y="6"/>
                  </a:cubicBezTo>
                  <a:cubicBezTo>
                    <a:pt x="83" y="2"/>
                    <a:pt x="83" y="2"/>
                    <a:pt x="83" y="2"/>
                  </a:cubicBezTo>
                  <a:cubicBezTo>
                    <a:pt x="83" y="49"/>
                    <a:pt x="83" y="49"/>
                    <a:pt x="83" y="49"/>
                  </a:cubicBezTo>
                  <a:cubicBezTo>
                    <a:pt x="87" y="39"/>
                    <a:pt x="92" y="31"/>
                    <a:pt x="99" y="23"/>
                  </a:cubicBezTo>
                  <a:cubicBezTo>
                    <a:pt x="113" y="8"/>
                    <a:pt x="130" y="0"/>
                    <a:pt x="150" y="0"/>
                  </a:cubicBezTo>
                  <a:cubicBezTo>
                    <a:pt x="181" y="0"/>
                    <a:pt x="203" y="18"/>
                    <a:pt x="217" y="52"/>
                  </a:cubicBezTo>
                  <a:cubicBezTo>
                    <a:pt x="234" y="18"/>
                    <a:pt x="257" y="0"/>
                    <a:pt x="288" y="0"/>
                  </a:cubicBezTo>
                  <a:cubicBezTo>
                    <a:pt x="314" y="0"/>
                    <a:pt x="333" y="10"/>
                    <a:pt x="346" y="30"/>
                  </a:cubicBezTo>
                  <a:cubicBezTo>
                    <a:pt x="353" y="41"/>
                    <a:pt x="357" y="53"/>
                    <a:pt x="358" y="66"/>
                  </a:cubicBezTo>
                  <a:cubicBezTo>
                    <a:pt x="359" y="77"/>
                    <a:pt x="360" y="89"/>
                    <a:pt x="360" y="102"/>
                  </a:cubicBezTo>
                  <a:cubicBezTo>
                    <a:pt x="360" y="205"/>
                    <a:pt x="360" y="205"/>
                    <a:pt x="360" y="205"/>
                  </a:cubicBezTo>
                  <a:cubicBezTo>
                    <a:pt x="360" y="226"/>
                    <a:pt x="362" y="240"/>
                    <a:pt x="367" y="245"/>
                  </a:cubicBezTo>
                  <a:cubicBezTo>
                    <a:pt x="371" y="250"/>
                    <a:pt x="378" y="252"/>
                    <a:pt x="389" y="252"/>
                  </a:cubicBezTo>
                  <a:cubicBezTo>
                    <a:pt x="396" y="252"/>
                    <a:pt x="396" y="252"/>
                    <a:pt x="396" y="252"/>
                  </a:cubicBezTo>
                  <a:cubicBezTo>
                    <a:pt x="396" y="270"/>
                    <a:pt x="396" y="270"/>
                    <a:pt x="396" y="270"/>
                  </a:cubicBezTo>
                  <a:lnTo>
                    <a:pt x="312" y="2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p:cNvSpPr>
              <a:spLocks/>
            </p:cNvSpPr>
            <p:nvPr userDrawn="1"/>
          </p:nvSpPr>
          <p:spPr bwMode="auto">
            <a:xfrm>
              <a:off x="4308475" y="5716588"/>
              <a:ext cx="301625" cy="452438"/>
            </a:xfrm>
            <a:custGeom>
              <a:avLst/>
              <a:gdLst>
                <a:gd name="T0" fmla="*/ 168 w 184"/>
                <a:gd name="T1" fmla="*/ 6 h 275"/>
                <a:gd name="T2" fmla="*/ 168 w 184"/>
                <a:gd name="T3" fmla="*/ 89 h 275"/>
                <a:gd name="T4" fmla="*/ 151 w 184"/>
                <a:gd name="T5" fmla="*/ 89 h 275"/>
                <a:gd name="T6" fmla="*/ 84 w 184"/>
                <a:gd name="T7" fmla="*/ 17 h 275"/>
                <a:gd name="T8" fmla="*/ 53 w 184"/>
                <a:gd name="T9" fmla="*/ 28 h 275"/>
                <a:gd name="T10" fmla="*/ 41 w 184"/>
                <a:gd name="T11" fmla="*/ 57 h 275"/>
                <a:gd name="T12" fmla="*/ 58 w 184"/>
                <a:gd name="T13" fmla="*/ 88 h 275"/>
                <a:gd name="T14" fmla="*/ 88 w 184"/>
                <a:gd name="T15" fmla="*/ 101 h 275"/>
                <a:gd name="T16" fmla="*/ 152 w 184"/>
                <a:gd name="T17" fmla="*/ 128 h 275"/>
                <a:gd name="T18" fmla="*/ 184 w 184"/>
                <a:gd name="T19" fmla="*/ 191 h 275"/>
                <a:gd name="T20" fmla="*/ 156 w 184"/>
                <a:gd name="T21" fmla="*/ 255 h 275"/>
                <a:gd name="T22" fmla="*/ 98 w 184"/>
                <a:gd name="T23" fmla="*/ 275 h 275"/>
                <a:gd name="T24" fmla="*/ 59 w 184"/>
                <a:gd name="T25" fmla="*/ 268 h 275"/>
                <a:gd name="T26" fmla="*/ 33 w 184"/>
                <a:gd name="T27" fmla="*/ 254 h 275"/>
                <a:gd name="T28" fmla="*/ 26 w 184"/>
                <a:gd name="T29" fmla="*/ 252 h 275"/>
                <a:gd name="T30" fmla="*/ 16 w 184"/>
                <a:gd name="T31" fmla="*/ 270 h 275"/>
                <a:gd name="T32" fmla="*/ 0 w 184"/>
                <a:gd name="T33" fmla="*/ 270 h 275"/>
                <a:gd name="T34" fmla="*/ 0 w 184"/>
                <a:gd name="T35" fmla="*/ 172 h 275"/>
                <a:gd name="T36" fmla="*/ 16 w 184"/>
                <a:gd name="T37" fmla="*/ 172 h 275"/>
                <a:gd name="T38" fmla="*/ 37 w 184"/>
                <a:gd name="T39" fmla="*/ 224 h 275"/>
                <a:gd name="T40" fmla="*/ 63 w 184"/>
                <a:gd name="T41" fmla="*/ 248 h 275"/>
                <a:gd name="T42" fmla="*/ 97 w 184"/>
                <a:gd name="T43" fmla="*/ 257 h 275"/>
                <a:gd name="T44" fmla="*/ 131 w 184"/>
                <a:gd name="T45" fmla="*/ 242 h 275"/>
                <a:gd name="T46" fmla="*/ 144 w 184"/>
                <a:gd name="T47" fmla="*/ 210 h 275"/>
                <a:gd name="T48" fmla="*/ 120 w 184"/>
                <a:gd name="T49" fmla="*/ 170 h 275"/>
                <a:gd name="T50" fmla="*/ 69 w 184"/>
                <a:gd name="T51" fmla="*/ 149 h 275"/>
                <a:gd name="T52" fmla="*/ 28 w 184"/>
                <a:gd name="T53" fmla="*/ 128 h 275"/>
                <a:gd name="T54" fmla="*/ 2 w 184"/>
                <a:gd name="T55" fmla="*/ 72 h 275"/>
                <a:gd name="T56" fmla="*/ 26 w 184"/>
                <a:gd name="T57" fmla="*/ 19 h 275"/>
                <a:gd name="T58" fmla="*/ 80 w 184"/>
                <a:gd name="T59" fmla="*/ 0 h 275"/>
                <a:gd name="T60" fmla="*/ 134 w 184"/>
                <a:gd name="T61" fmla="*/ 16 h 275"/>
                <a:gd name="T62" fmla="*/ 142 w 184"/>
                <a:gd name="T63" fmla="*/ 19 h 275"/>
                <a:gd name="T64" fmla="*/ 151 w 184"/>
                <a:gd name="T65" fmla="*/ 6 h 275"/>
                <a:gd name="T66" fmla="*/ 168 w 184"/>
                <a:gd name="T67" fmla="*/ 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75">
                  <a:moveTo>
                    <a:pt x="168" y="6"/>
                  </a:moveTo>
                  <a:cubicBezTo>
                    <a:pt x="168" y="89"/>
                    <a:pt x="168" y="89"/>
                    <a:pt x="168" y="89"/>
                  </a:cubicBezTo>
                  <a:cubicBezTo>
                    <a:pt x="151" y="89"/>
                    <a:pt x="151" y="89"/>
                    <a:pt x="151" y="89"/>
                  </a:cubicBezTo>
                  <a:cubicBezTo>
                    <a:pt x="141" y="41"/>
                    <a:pt x="119" y="17"/>
                    <a:pt x="84" y="17"/>
                  </a:cubicBezTo>
                  <a:cubicBezTo>
                    <a:pt x="71" y="17"/>
                    <a:pt x="61" y="21"/>
                    <a:pt x="53" y="28"/>
                  </a:cubicBezTo>
                  <a:cubicBezTo>
                    <a:pt x="45" y="36"/>
                    <a:pt x="41" y="46"/>
                    <a:pt x="41" y="57"/>
                  </a:cubicBezTo>
                  <a:cubicBezTo>
                    <a:pt x="41" y="70"/>
                    <a:pt x="46" y="80"/>
                    <a:pt x="58" y="88"/>
                  </a:cubicBezTo>
                  <a:cubicBezTo>
                    <a:pt x="63" y="92"/>
                    <a:pt x="74" y="96"/>
                    <a:pt x="88" y="101"/>
                  </a:cubicBezTo>
                  <a:cubicBezTo>
                    <a:pt x="120" y="111"/>
                    <a:pt x="142" y="120"/>
                    <a:pt x="152" y="128"/>
                  </a:cubicBezTo>
                  <a:cubicBezTo>
                    <a:pt x="173" y="144"/>
                    <a:pt x="184" y="165"/>
                    <a:pt x="184" y="191"/>
                  </a:cubicBezTo>
                  <a:cubicBezTo>
                    <a:pt x="184" y="217"/>
                    <a:pt x="175" y="238"/>
                    <a:pt x="156" y="255"/>
                  </a:cubicBezTo>
                  <a:cubicBezTo>
                    <a:pt x="141" y="269"/>
                    <a:pt x="121" y="275"/>
                    <a:pt x="98" y="275"/>
                  </a:cubicBezTo>
                  <a:cubicBezTo>
                    <a:pt x="84" y="275"/>
                    <a:pt x="71" y="273"/>
                    <a:pt x="59" y="268"/>
                  </a:cubicBezTo>
                  <a:cubicBezTo>
                    <a:pt x="55" y="266"/>
                    <a:pt x="46" y="262"/>
                    <a:pt x="33" y="254"/>
                  </a:cubicBezTo>
                  <a:cubicBezTo>
                    <a:pt x="31" y="253"/>
                    <a:pt x="28" y="252"/>
                    <a:pt x="26" y="252"/>
                  </a:cubicBezTo>
                  <a:cubicBezTo>
                    <a:pt x="23" y="252"/>
                    <a:pt x="19" y="258"/>
                    <a:pt x="16" y="270"/>
                  </a:cubicBezTo>
                  <a:cubicBezTo>
                    <a:pt x="0" y="270"/>
                    <a:pt x="0" y="270"/>
                    <a:pt x="0" y="270"/>
                  </a:cubicBezTo>
                  <a:cubicBezTo>
                    <a:pt x="0" y="172"/>
                    <a:pt x="0" y="172"/>
                    <a:pt x="0" y="172"/>
                  </a:cubicBezTo>
                  <a:cubicBezTo>
                    <a:pt x="16" y="172"/>
                    <a:pt x="16" y="172"/>
                    <a:pt x="16" y="172"/>
                  </a:cubicBezTo>
                  <a:cubicBezTo>
                    <a:pt x="22" y="196"/>
                    <a:pt x="29" y="214"/>
                    <a:pt x="37" y="224"/>
                  </a:cubicBezTo>
                  <a:cubicBezTo>
                    <a:pt x="44" y="234"/>
                    <a:pt x="52" y="242"/>
                    <a:pt x="63" y="248"/>
                  </a:cubicBezTo>
                  <a:cubicBezTo>
                    <a:pt x="74" y="254"/>
                    <a:pt x="85" y="257"/>
                    <a:pt x="97" y="257"/>
                  </a:cubicBezTo>
                  <a:cubicBezTo>
                    <a:pt x="112" y="257"/>
                    <a:pt x="123" y="252"/>
                    <a:pt x="131" y="242"/>
                  </a:cubicBezTo>
                  <a:cubicBezTo>
                    <a:pt x="139" y="233"/>
                    <a:pt x="144" y="222"/>
                    <a:pt x="144" y="210"/>
                  </a:cubicBezTo>
                  <a:cubicBezTo>
                    <a:pt x="144" y="193"/>
                    <a:pt x="136" y="179"/>
                    <a:pt x="120" y="170"/>
                  </a:cubicBezTo>
                  <a:cubicBezTo>
                    <a:pt x="112" y="164"/>
                    <a:pt x="95" y="158"/>
                    <a:pt x="69" y="149"/>
                  </a:cubicBezTo>
                  <a:cubicBezTo>
                    <a:pt x="52" y="144"/>
                    <a:pt x="39" y="137"/>
                    <a:pt x="28" y="128"/>
                  </a:cubicBezTo>
                  <a:cubicBezTo>
                    <a:pt x="11" y="115"/>
                    <a:pt x="2" y="97"/>
                    <a:pt x="2" y="72"/>
                  </a:cubicBezTo>
                  <a:cubicBezTo>
                    <a:pt x="2" y="50"/>
                    <a:pt x="10" y="32"/>
                    <a:pt x="26" y="19"/>
                  </a:cubicBezTo>
                  <a:cubicBezTo>
                    <a:pt x="40" y="6"/>
                    <a:pt x="58" y="0"/>
                    <a:pt x="80" y="0"/>
                  </a:cubicBezTo>
                  <a:cubicBezTo>
                    <a:pt x="99" y="0"/>
                    <a:pt x="117" y="5"/>
                    <a:pt x="134" y="16"/>
                  </a:cubicBezTo>
                  <a:cubicBezTo>
                    <a:pt x="138" y="18"/>
                    <a:pt x="140" y="19"/>
                    <a:pt x="142" y="19"/>
                  </a:cubicBezTo>
                  <a:cubicBezTo>
                    <a:pt x="146" y="19"/>
                    <a:pt x="149" y="14"/>
                    <a:pt x="151" y="6"/>
                  </a:cubicBezTo>
                  <a:lnTo>
                    <a:pt x="16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p:cNvSpPr>
              <a:spLocks/>
            </p:cNvSpPr>
            <p:nvPr userDrawn="1"/>
          </p:nvSpPr>
          <p:spPr bwMode="auto">
            <a:xfrm>
              <a:off x="4710113" y="5807075"/>
              <a:ext cx="131763" cy="133350"/>
            </a:xfrm>
            <a:custGeom>
              <a:avLst/>
              <a:gdLst>
                <a:gd name="T0" fmla="*/ 0 w 83"/>
                <a:gd name="T1" fmla="*/ 84 h 84"/>
                <a:gd name="T2" fmla="*/ 0 w 83"/>
                <a:gd name="T3" fmla="*/ 0 h 84"/>
                <a:gd name="T4" fmla="*/ 46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6"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981158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lide Divider Living Magent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elplatzhalter 1"/>
          <p:cNvSpPr>
            <a:spLocks noGrp="1"/>
          </p:cNvSpPr>
          <p:nvPr>
            <p:ph type="ctrTitle" hasCustomPrompt="1"/>
          </p:nvPr>
        </p:nvSpPr>
        <p:spPr bwMode="black">
          <a:xfrm>
            <a:off x="323851" y="1762125"/>
            <a:ext cx="10874374" cy="1661993"/>
          </a:xfrm>
          <a:noFill/>
        </p:spPr>
        <p:txBody>
          <a:bodyPr wrap="square" lIns="0" tIns="0">
            <a:spAutoFit/>
          </a:bodyPr>
          <a:lstStyle>
            <a:lvl1pPr>
              <a:defRPr sz="6000" smtClean="0">
                <a:solidFill>
                  <a:schemeClr val="bg1"/>
                </a:solidFill>
                <a:latin typeface="TeleGrotesk Headline Ultra" pitchFamily="2" charset="0"/>
              </a:defRPr>
            </a:lvl1pPr>
          </a:lstStyle>
          <a:p>
            <a:r>
              <a:rPr lang="en-US" dirty="0" err="1" smtClean="0"/>
              <a:t>TeleGrotesk</a:t>
            </a:r>
            <a:r>
              <a:rPr lang="en-US" dirty="0" smtClean="0"/>
              <a:t> Headline Ultra </a:t>
            </a:r>
            <a:br>
              <a:rPr lang="en-US" dirty="0" smtClean="0"/>
            </a:br>
            <a:r>
              <a:rPr lang="en-US" dirty="0" smtClean="0"/>
              <a:t>60 (75) 90 PT</a:t>
            </a:r>
          </a:p>
        </p:txBody>
      </p:sp>
    </p:spTree>
    <p:extLst>
      <p:ext uri="{BB962C8B-B14F-4D97-AF65-F5344CB8AC3E}">
        <p14:creationId xmlns:p14="http://schemas.microsoft.com/office/powerpoint/2010/main" val="795172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Slide Living Magenta vertical">
    <p:bg>
      <p:bgPr>
        <a:blipFill dpi="0" rotWithShape="1">
          <a:blip r:embed="rId2">
            <a:lum/>
          </a:blip>
          <a:srcRect/>
          <a:stretch>
            <a:fillRect l="-40000" r="40000"/>
          </a:stretch>
        </a:blipFill>
        <a:effectLst/>
      </p:bgPr>
    </p:bg>
    <p:spTree>
      <p:nvGrpSpPr>
        <p:cNvPr id="1" name=""/>
        <p:cNvGrpSpPr/>
        <p:nvPr/>
      </p:nvGrpSpPr>
      <p:grpSpPr>
        <a:xfrm>
          <a:off x="0" y="0"/>
          <a:ext cx="0" cy="0"/>
          <a:chOff x="0" y="0"/>
          <a:chExt cx="0" cy="0"/>
        </a:xfrm>
      </p:grpSpPr>
      <p:sp>
        <p:nvSpPr>
          <p:cNvPr id="2" name="Rechteck 1"/>
          <p:cNvSpPr/>
          <p:nvPr userDrawn="1"/>
        </p:nvSpPr>
        <p:spPr bwMode="gray">
          <a:xfrm>
            <a:off x="5761038" y="0"/>
            <a:ext cx="5761037" cy="6478666"/>
          </a:xfrm>
          <a:prstGeom prst="rect">
            <a:avLst/>
          </a:prstGeom>
          <a:solidFill>
            <a:schemeClr val="bg1"/>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en-US" sz="1800" dirty="0" smtClean="0">
              <a:cs typeface="Arial" charset="0"/>
            </a:endParaRPr>
          </a:p>
        </p:txBody>
      </p:sp>
      <p:sp>
        <p:nvSpPr>
          <p:cNvPr id="6" name="Titelplatzhalter 1"/>
          <p:cNvSpPr>
            <a:spLocks noGrp="1"/>
          </p:cNvSpPr>
          <p:nvPr>
            <p:ph type="ctrTitle" hasCustomPrompt="1"/>
          </p:nvPr>
        </p:nvSpPr>
        <p:spPr bwMode="gray">
          <a:xfrm>
            <a:off x="6084888" y="323850"/>
            <a:ext cx="5113337" cy="5184775"/>
          </a:xfrm>
          <a:noFill/>
        </p:spPr>
        <p:txBody>
          <a:bodyPr wrap="square" lIns="0" tIns="0" anchor="ctr">
            <a:noAutofit/>
          </a:bodyPr>
          <a:lstStyle>
            <a:lvl1pPr>
              <a:defRPr sz="4500" baseline="0" smtClean="0">
                <a:solidFill>
                  <a:schemeClr val="tx2"/>
                </a:solidFill>
                <a:latin typeface="TeleGrotesk Headline" pitchFamily="2" charset="0"/>
              </a:defRPr>
            </a:lvl1pPr>
          </a:lstStyle>
          <a:p>
            <a:r>
              <a:rPr lang="en-US" dirty="0" smtClean="0"/>
              <a:t>01</a:t>
            </a:r>
            <a:br>
              <a:rPr lang="en-US" dirty="0" smtClean="0"/>
            </a:br>
            <a:r>
              <a:rPr lang="en-US" dirty="0" err="1" smtClean="0"/>
              <a:t>TeleGrotesk</a:t>
            </a:r>
            <a:r>
              <a:rPr lang="en-US" dirty="0" smtClean="0"/>
              <a:t> Headline</a:t>
            </a:r>
            <a:br>
              <a:rPr lang="en-US" dirty="0" smtClean="0"/>
            </a:br>
            <a:r>
              <a:rPr lang="en-US" dirty="0" smtClean="0"/>
              <a:t>(45) 60 PT</a:t>
            </a:r>
          </a:p>
        </p:txBody>
      </p:sp>
    </p:spTree>
    <p:extLst>
      <p:ext uri="{BB962C8B-B14F-4D97-AF65-F5344CB8AC3E}">
        <p14:creationId xmlns:p14="http://schemas.microsoft.com/office/powerpoint/2010/main" val="1267154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page image">
    <p:spTree>
      <p:nvGrpSpPr>
        <p:cNvPr id="1" name=""/>
        <p:cNvGrpSpPr/>
        <p:nvPr/>
      </p:nvGrpSpPr>
      <p:grpSpPr>
        <a:xfrm>
          <a:off x="0" y="0"/>
          <a:ext cx="0" cy="0"/>
          <a:chOff x="0" y="0"/>
          <a:chExt cx="0" cy="0"/>
        </a:xfrm>
      </p:grpSpPr>
      <p:sp>
        <p:nvSpPr>
          <p:cNvPr id="3" name="Bildplatzhalter 2"/>
          <p:cNvSpPr>
            <a:spLocks noGrp="1"/>
          </p:cNvSpPr>
          <p:nvPr>
            <p:ph type="pic" sz="quarter" idx="13"/>
          </p:nvPr>
        </p:nvSpPr>
        <p:spPr>
          <a:xfrm>
            <a:off x="0" y="0"/>
            <a:ext cx="11522075" cy="6480175"/>
          </a:xfrm>
        </p:spPr>
        <p:txBody>
          <a:bodyPr/>
          <a:lstStyle/>
          <a:p>
            <a:r>
              <a:rPr lang="en-US" smtClean="0"/>
              <a:t>Click icon to add picture</a:t>
            </a:r>
            <a:endParaRPr lang="de-DE" dirty="0"/>
          </a:p>
        </p:txBody>
      </p:sp>
      <p:sp>
        <p:nvSpPr>
          <p:cNvPr id="4" name="Datumsplatzhalter 3"/>
          <p:cNvSpPr>
            <a:spLocks noGrp="1"/>
          </p:cNvSpPr>
          <p:nvPr>
            <p:ph type="dt" sz="half" idx="14"/>
          </p:nvPr>
        </p:nvSpPr>
        <p:spPr/>
        <p:txBody>
          <a:bodyPr/>
          <a:lstStyle/>
          <a:p>
            <a:pPr fontAlgn="base">
              <a:spcAft>
                <a:spcPct val="0"/>
              </a:spcAft>
            </a:pPr>
            <a:r>
              <a:rPr lang="en-US" noProof="0" dirty="0" err="1" smtClean="0"/>
              <a:t>dd.mm.yyyy</a:t>
            </a:r>
            <a:endParaRPr lang="en-US" noProof="0" dirty="0"/>
          </a:p>
        </p:txBody>
      </p:sp>
      <p:sp>
        <p:nvSpPr>
          <p:cNvPr id="5" name="Foliennummernplatzhalter 4"/>
          <p:cNvSpPr>
            <a:spLocks noGrp="1"/>
          </p:cNvSpPr>
          <p:nvPr>
            <p:ph type="sldNum" sz="quarter" idx="15"/>
          </p:nvPr>
        </p:nvSpPr>
        <p:spPr/>
        <p:txBody>
          <a:bodyPr/>
          <a:lstStyle/>
          <a:p>
            <a:pPr fontAlgn="base">
              <a:spcAft>
                <a:spcPct val="0"/>
              </a:spcAft>
            </a:pPr>
            <a:fld id="{31ED8236-F742-4994-B025-3D78EEC04644}" type="slidenum">
              <a:rPr lang="en-US" noProof="0" smtClean="0"/>
              <a:pPr fontAlgn="base">
                <a:spcAft>
                  <a:spcPct val="0"/>
                </a:spcAft>
              </a:pPr>
              <a:t>‹#›</a:t>
            </a:fld>
            <a:endParaRPr lang="en-US" noProof="0" dirty="0"/>
          </a:p>
        </p:txBody>
      </p:sp>
      <p:sp>
        <p:nvSpPr>
          <p:cNvPr id="6" name="Fußzeilenplatzhalter 5"/>
          <p:cNvSpPr>
            <a:spLocks noGrp="1"/>
          </p:cNvSpPr>
          <p:nvPr>
            <p:ph type="ftr" sz="quarter" idx="16"/>
          </p:nvPr>
        </p:nvSpPr>
        <p:spPr/>
        <p:txBody>
          <a:bodyPr/>
          <a:lstStyle/>
          <a:p>
            <a:r>
              <a:rPr lang="en-US" noProof="0" dirty="0" smtClean="0"/>
              <a:t>– Strictly confidential, Confidential, Internal –     Author/Presentation Topic</a:t>
            </a:r>
            <a:endParaRPr lang="en-US" noProof="0" dirty="0"/>
          </a:p>
        </p:txBody>
      </p:sp>
    </p:spTree>
    <p:extLst>
      <p:ext uri="{BB962C8B-B14F-4D97-AF65-F5344CB8AC3E}">
        <p14:creationId xmlns:p14="http://schemas.microsoft.com/office/powerpoint/2010/main" val="2711722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and text left">
    <p:spTree>
      <p:nvGrpSpPr>
        <p:cNvPr id="1" name=""/>
        <p:cNvGrpSpPr/>
        <p:nvPr/>
      </p:nvGrpSpPr>
      <p:grpSpPr>
        <a:xfrm>
          <a:off x="0" y="0"/>
          <a:ext cx="0" cy="0"/>
          <a:chOff x="0" y="0"/>
          <a:chExt cx="0" cy="0"/>
        </a:xfrm>
      </p:grpSpPr>
      <p:sp>
        <p:nvSpPr>
          <p:cNvPr id="6" name="Bildplatzhalter 5"/>
          <p:cNvSpPr>
            <a:spLocks noGrp="1"/>
          </p:cNvSpPr>
          <p:nvPr>
            <p:ph type="pic" sz="quarter" idx="13"/>
          </p:nvPr>
        </p:nvSpPr>
        <p:spPr>
          <a:xfrm>
            <a:off x="5832475" y="0"/>
            <a:ext cx="5689600" cy="6480175"/>
          </a:xfrm>
        </p:spPr>
        <p:txBody>
          <a:bodyPr/>
          <a:lstStyle/>
          <a:p>
            <a:r>
              <a:rPr lang="en-US" smtClean="0"/>
              <a:t>Click icon to add picture</a:t>
            </a:r>
            <a:endParaRPr lang="de-DE"/>
          </a:p>
        </p:txBody>
      </p:sp>
      <p:sp>
        <p:nvSpPr>
          <p:cNvPr id="2" name="Titel 1"/>
          <p:cNvSpPr>
            <a:spLocks noGrp="1"/>
          </p:cNvSpPr>
          <p:nvPr>
            <p:ph type="title" hasCustomPrompt="1"/>
          </p:nvPr>
        </p:nvSpPr>
        <p:spPr>
          <a:xfrm>
            <a:off x="323999" y="251999"/>
            <a:ext cx="5365601" cy="807561"/>
          </a:xfrm>
        </p:spPr>
        <p:txBody>
          <a:bodyPr/>
          <a:lstStyle>
            <a:lvl1pPr marL="0" indent="0">
              <a:defRPr/>
            </a:lvl1pPr>
          </a:lstStyle>
          <a:p>
            <a:r>
              <a:rPr lang="en-US" dirty="0" err="1" smtClean="0"/>
              <a:t>TeleGrotesk</a:t>
            </a:r>
            <a:r>
              <a:rPr lang="en-US" dirty="0" smtClean="0"/>
              <a:t> Headline Ultra 28 (32) 40 </a:t>
            </a:r>
            <a:r>
              <a:rPr lang="en-US" dirty="0" err="1" smtClean="0"/>
              <a:t>pt</a:t>
            </a:r>
            <a:endParaRPr lang="en-US" dirty="0"/>
          </a:p>
        </p:txBody>
      </p:sp>
      <p:sp>
        <p:nvSpPr>
          <p:cNvPr id="3" name="Inhaltsplatzhalter 2"/>
          <p:cNvSpPr>
            <a:spLocks noGrp="1"/>
          </p:cNvSpPr>
          <p:nvPr>
            <p:ph sz="half" idx="1" hasCustomPrompt="1"/>
          </p:nvPr>
        </p:nvSpPr>
        <p:spPr>
          <a:xfrm>
            <a:off x="324000" y="1476374"/>
            <a:ext cx="5365600" cy="4032251"/>
          </a:xfrm>
        </p:spPr>
        <p:txBody>
          <a:bodyPr anchor="ctr"/>
          <a:lstStyle>
            <a:lvl1pPr>
              <a:defRPr sz="1800" baseline="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umsplatzhalter 4"/>
          <p:cNvSpPr>
            <a:spLocks noGrp="1"/>
          </p:cNvSpPr>
          <p:nvPr>
            <p:ph type="dt" sz="half" idx="14"/>
          </p:nvPr>
        </p:nvSpPr>
        <p:spPr/>
        <p:txBody>
          <a:bodyPr/>
          <a:lstStyle/>
          <a:p>
            <a:pPr fontAlgn="base">
              <a:spcAft>
                <a:spcPct val="0"/>
              </a:spcAft>
            </a:pPr>
            <a:r>
              <a:rPr lang="en-US" noProof="0" dirty="0" err="1" smtClean="0"/>
              <a:t>dd.mm.yyyy</a:t>
            </a:r>
            <a:endParaRPr lang="en-US" noProof="0" dirty="0"/>
          </a:p>
        </p:txBody>
      </p:sp>
      <p:sp>
        <p:nvSpPr>
          <p:cNvPr id="7" name="Foliennummernplatzhalter 6"/>
          <p:cNvSpPr>
            <a:spLocks noGrp="1"/>
          </p:cNvSpPr>
          <p:nvPr>
            <p:ph type="sldNum" sz="quarter" idx="15"/>
          </p:nvPr>
        </p:nvSpPr>
        <p:spPr/>
        <p:txBody>
          <a:bodyPr/>
          <a:lstStyle/>
          <a:p>
            <a:pPr fontAlgn="base">
              <a:spcAft>
                <a:spcPct val="0"/>
              </a:spcAft>
            </a:pPr>
            <a:fld id="{31ED8236-F742-4994-B025-3D78EEC04644}" type="slidenum">
              <a:rPr lang="en-US" noProof="0" smtClean="0"/>
              <a:pPr fontAlgn="base">
                <a:spcAft>
                  <a:spcPct val="0"/>
                </a:spcAft>
              </a:pPr>
              <a:t>‹#›</a:t>
            </a:fld>
            <a:endParaRPr lang="en-US" noProof="0" dirty="0"/>
          </a:p>
        </p:txBody>
      </p:sp>
      <p:sp>
        <p:nvSpPr>
          <p:cNvPr id="8" name="Fußzeilenplatzhalter 7"/>
          <p:cNvSpPr>
            <a:spLocks noGrp="1"/>
          </p:cNvSpPr>
          <p:nvPr>
            <p:ph type="ftr" sz="quarter" idx="16"/>
          </p:nvPr>
        </p:nvSpPr>
        <p:spPr/>
        <p:txBody>
          <a:bodyPr/>
          <a:lstStyle/>
          <a:p>
            <a:r>
              <a:rPr lang="en-US" noProof="0" dirty="0" smtClean="0"/>
              <a:t>– Strictly confidential, Confidential, Internal –     Author/Presentation Topic</a:t>
            </a:r>
            <a:endParaRPr lang="en-US" noProof="0" dirty="0"/>
          </a:p>
        </p:txBody>
      </p:sp>
    </p:spTree>
    <p:extLst>
      <p:ext uri="{BB962C8B-B14F-4D97-AF65-F5344CB8AC3E}">
        <p14:creationId xmlns:p14="http://schemas.microsoft.com/office/powerpoint/2010/main" val="1519689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and text rig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832624" y="251999"/>
            <a:ext cx="5365601" cy="807561"/>
          </a:xfrm>
        </p:spPr>
        <p:txBody>
          <a:bodyPr/>
          <a:lstStyle>
            <a:lvl1pPr marL="0" indent="0">
              <a:defRPr/>
            </a:lvl1pPr>
          </a:lstStyle>
          <a:p>
            <a:r>
              <a:rPr lang="en-US" dirty="0" err="1" smtClean="0"/>
              <a:t>TeleGrotesk</a:t>
            </a:r>
            <a:r>
              <a:rPr lang="en-US" dirty="0" smtClean="0"/>
              <a:t> Headline Ultra 28 (32) 40 </a:t>
            </a:r>
            <a:r>
              <a:rPr lang="en-US" dirty="0" err="1" smtClean="0"/>
              <a:t>pt</a:t>
            </a:r>
            <a:endParaRPr lang="en-US" dirty="0"/>
          </a:p>
        </p:txBody>
      </p:sp>
      <p:sp>
        <p:nvSpPr>
          <p:cNvPr id="3" name="Inhaltsplatzhalter 2"/>
          <p:cNvSpPr>
            <a:spLocks noGrp="1"/>
          </p:cNvSpPr>
          <p:nvPr>
            <p:ph sz="half" idx="1" hasCustomPrompt="1"/>
          </p:nvPr>
        </p:nvSpPr>
        <p:spPr>
          <a:xfrm>
            <a:off x="5832625" y="1476374"/>
            <a:ext cx="5365600" cy="4032251"/>
          </a:xfrm>
        </p:spPr>
        <p:txBody>
          <a:bodyPr anchor="ctr"/>
          <a:lstStyle>
            <a:lvl1pPr>
              <a:defRPr sz="1800"/>
            </a:lvl1pPr>
            <a:lvl2pPr>
              <a:defRPr sz="1800"/>
            </a:lvl2pPr>
            <a:lvl3pPr>
              <a:buClr>
                <a:schemeClr val="tx1"/>
              </a:buClr>
              <a:defRPr sz="1800" baseline="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Bildplatzhalter 5"/>
          <p:cNvSpPr>
            <a:spLocks noGrp="1"/>
          </p:cNvSpPr>
          <p:nvPr>
            <p:ph type="pic" sz="quarter" idx="13"/>
          </p:nvPr>
        </p:nvSpPr>
        <p:spPr>
          <a:xfrm>
            <a:off x="0" y="0"/>
            <a:ext cx="5689600" cy="6480175"/>
          </a:xfrm>
        </p:spPr>
        <p:txBody>
          <a:bodyPr/>
          <a:lstStyle/>
          <a:p>
            <a:r>
              <a:rPr lang="en-US" smtClean="0"/>
              <a:t>Click icon to add picture</a:t>
            </a:r>
            <a:endParaRPr lang="de-DE"/>
          </a:p>
        </p:txBody>
      </p:sp>
      <p:sp>
        <p:nvSpPr>
          <p:cNvPr id="5" name="Datumsplatzhalter 4"/>
          <p:cNvSpPr>
            <a:spLocks noGrp="1"/>
          </p:cNvSpPr>
          <p:nvPr>
            <p:ph type="dt" sz="half" idx="14"/>
          </p:nvPr>
        </p:nvSpPr>
        <p:spPr/>
        <p:txBody>
          <a:bodyPr/>
          <a:lstStyle/>
          <a:p>
            <a:pPr fontAlgn="base">
              <a:spcAft>
                <a:spcPct val="0"/>
              </a:spcAft>
            </a:pPr>
            <a:r>
              <a:rPr lang="en-US" noProof="0" dirty="0" err="1" smtClean="0"/>
              <a:t>dd.mm.yyyy</a:t>
            </a:r>
            <a:endParaRPr lang="en-US" noProof="0" dirty="0"/>
          </a:p>
        </p:txBody>
      </p:sp>
      <p:sp>
        <p:nvSpPr>
          <p:cNvPr id="7" name="Foliennummernplatzhalter 6"/>
          <p:cNvSpPr>
            <a:spLocks noGrp="1"/>
          </p:cNvSpPr>
          <p:nvPr>
            <p:ph type="sldNum" sz="quarter" idx="15"/>
          </p:nvPr>
        </p:nvSpPr>
        <p:spPr/>
        <p:txBody>
          <a:bodyPr/>
          <a:lstStyle/>
          <a:p>
            <a:pPr fontAlgn="base">
              <a:spcAft>
                <a:spcPct val="0"/>
              </a:spcAft>
            </a:pPr>
            <a:fld id="{31ED8236-F742-4994-B025-3D78EEC04644}" type="slidenum">
              <a:rPr lang="en-US" noProof="0" smtClean="0"/>
              <a:pPr fontAlgn="base">
                <a:spcAft>
                  <a:spcPct val="0"/>
                </a:spcAft>
              </a:pPr>
              <a:t>‹#›</a:t>
            </a:fld>
            <a:endParaRPr lang="en-US" noProof="0" dirty="0"/>
          </a:p>
        </p:txBody>
      </p:sp>
      <p:sp>
        <p:nvSpPr>
          <p:cNvPr id="8" name="Fußzeilenplatzhalter 7"/>
          <p:cNvSpPr>
            <a:spLocks noGrp="1"/>
          </p:cNvSpPr>
          <p:nvPr>
            <p:ph type="ftr" sz="quarter" idx="16"/>
          </p:nvPr>
        </p:nvSpPr>
        <p:spPr/>
        <p:txBody>
          <a:bodyPr/>
          <a:lstStyle/>
          <a:p>
            <a:r>
              <a:rPr lang="en-US" noProof="0" dirty="0" smtClean="0"/>
              <a:t>– Strictly confidential, Confidential, Internal –     Author/Presentation Topic</a:t>
            </a:r>
            <a:endParaRPr lang="en-US" noProof="0" dirty="0"/>
          </a:p>
        </p:txBody>
      </p:sp>
    </p:spTree>
    <p:extLst>
      <p:ext uri="{BB962C8B-B14F-4D97-AF65-F5344CB8AC3E}">
        <p14:creationId xmlns:p14="http://schemas.microsoft.com/office/powerpoint/2010/main" val="342480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pPr fontAlgn="base">
              <a:spcAft>
                <a:spcPct val="0"/>
              </a:spcAft>
            </a:pPr>
            <a:r>
              <a:rPr lang="en-US" noProof="0" dirty="0" err="1" smtClean="0"/>
              <a:t>dd.mm.yyyy</a:t>
            </a:r>
            <a:endParaRPr lang="en-US" noProof="0" dirty="0"/>
          </a:p>
        </p:txBody>
      </p:sp>
      <p:sp>
        <p:nvSpPr>
          <p:cNvPr id="3" name="Foliennummernplatzhalter 2"/>
          <p:cNvSpPr>
            <a:spLocks noGrp="1"/>
          </p:cNvSpPr>
          <p:nvPr>
            <p:ph type="sldNum" sz="quarter" idx="11"/>
          </p:nvPr>
        </p:nvSpPr>
        <p:spPr/>
        <p:txBody>
          <a:bodyPr/>
          <a:lstStyle/>
          <a:p>
            <a:pPr fontAlgn="base">
              <a:spcAft>
                <a:spcPct val="0"/>
              </a:spcAft>
            </a:pPr>
            <a:fld id="{31ED8236-F742-4994-B025-3D78EEC04644}" type="slidenum">
              <a:rPr lang="en-US" noProof="0" smtClean="0"/>
              <a:pPr fontAlgn="base">
                <a:spcAft>
                  <a:spcPct val="0"/>
                </a:spcAft>
              </a:pPr>
              <a:t>‹#›</a:t>
            </a:fld>
            <a:endParaRPr lang="en-US" noProof="0" dirty="0"/>
          </a:p>
        </p:txBody>
      </p:sp>
      <p:sp>
        <p:nvSpPr>
          <p:cNvPr id="4" name="Fußzeilenplatzhalter 3"/>
          <p:cNvSpPr>
            <a:spLocks noGrp="1"/>
          </p:cNvSpPr>
          <p:nvPr>
            <p:ph type="ftr" sz="quarter" idx="12"/>
          </p:nvPr>
        </p:nvSpPr>
        <p:spPr/>
        <p:txBody>
          <a:bodyPr/>
          <a:lstStyle/>
          <a:p>
            <a:r>
              <a:rPr lang="en-US" noProof="0" dirty="0" smtClean="0"/>
              <a:t>– Strictly confidential, Confidential, Internal –     Author/Presentation Topic</a:t>
            </a:r>
            <a:endParaRPr lang="en-US" noProof="0"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4000" y="252000"/>
            <a:ext cx="10872000" cy="504000"/>
          </a:xfrm>
        </p:spPr>
        <p:txBody>
          <a:bodyPr/>
          <a:lstStyle>
            <a:lvl1pPr marL="0" indent="0">
              <a:defRPr/>
            </a:lvl1pPr>
          </a:lstStyle>
          <a:p>
            <a:r>
              <a:rPr lang="en-US" dirty="0" err="1" smtClean="0"/>
              <a:t>TeleGrotesk</a:t>
            </a:r>
            <a:r>
              <a:rPr lang="en-US" dirty="0" smtClean="0"/>
              <a:t> Headline Ultra 28 (32) 40 </a:t>
            </a:r>
            <a:r>
              <a:rPr lang="en-US" dirty="0" err="1" smtClean="0"/>
              <a:t>pt</a:t>
            </a:r>
            <a:endParaRPr lang="en-US" dirty="0"/>
          </a:p>
        </p:txBody>
      </p:sp>
      <p:sp>
        <p:nvSpPr>
          <p:cNvPr id="3" name="Datumsplatzhalter 2"/>
          <p:cNvSpPr>
            <a:spLocks noGrp="1"/>
          </p:cNvSpPr>
          <p:nvPr>
            <p:ph type="dt" sz="half" idx="10"/>
          </p:nvPr>
        </p:nvSpPr>
        <p:spPr/>
        <p:txBody>
          <a:bodyPr/>
          <a:lstStyle/>
          <a:p>
            <a:pPr fontAlgn="base">
              <a:spcAft>
                <a:spcPct val="0"/>
              </a:spcAft>
            </a:pPr>
            <a:r>
              <a:rPr lang="en-US" noProof="0" dirty="0" err="1" smtClean="0"/>
              <a:t>dd.mm.yyyy</a:t>
            </a:r>
            <a:endParaRPr lang="en-US" noProof="0" dirty="0"/>
          </a:p>
        </p:txBody>
      </p:sp>
      <p:sp>
        <p:nvSpPr>
          <p:cNvPr id="4" name="Foliennummernplatzhalter 3"/>
          <p:cNvSpPr>
            <a:spLocks noGrp="1"/>
          </p:cNvSpPr>
          <p:nvPr>
            <p:ph type="sldNum" sz="quarter" idx="11"/>
          </p:nvPr>
        </p:nvSpPr>
        <p:spPr/>
        <p:txBody>
          <a:bodyPr/>
          <a:lstStyle/>
          <a:p>
            <a:pPr fontAlgn="base">
              <a:spcAft>
                <a:spcPct val="0"/>
              </a:spcAft>
            </a:pPr>
            <a:fld id="{31ED8236-F742-4994-B025-3D78EEC04644}" type="slidenum">
              <a:rPr lang="en-US" noProof="0" smtClean="0"/>
              <a:pPr fontAlgn="base">
                <a:spcAft>
                  <a:spcPct val="0"/>
                </a:spcAft>
              </a:pPr>
              <a:t>‹#›</a:t>
            </a:fld>
            <a:endParaRPr lang="en-US" noProof="0" dirty="0"/>
          </a:p>
        </p:txBody>
      </p:sp>
      <p:sp>
        <p:nvSpPr>
          <p:cNvPr id="5" name="Fußzeilenplatzhalter 4"/>
          <p:cNvSpPr>
            <a:spLocks noGrp="1"/>
          </p:cNvSpPr>
          <p:nvPr>
            <p:ph type="ftr" sz="quarter" idx="12"/>
          </p:nvPr>
        </p:nvSpPr>
        <p:spPr/>
        <p:txBody>
          <a:bodyPr/>
          <a:lstStyle/>
          <a:p>
            <a:r>
              <a:rPr lang="en-US" noProof="0" dirty="0" smtClean="0"/>
              <a:t>– Strictly confidential, Confidential, Internal –     Author/Presentation Topic</a:t>
            </a:r>
            <a:endParaRPr lang="en-US" noProof="0"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ext (1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3998" y="252000"/>
            <a:ext cx="10872000" cy="504000"/>
          </a:xfrm>
        </p:spPr>
        <p:txBody>
          <a:bodyPr/>
          <a:lstStyle>
            <a:lvl1pPr marL="0" indent="0">
              <a:defRPr/>
            </a:lvl1pPr>
          </a:lstStyle>
          <a:p>
            <a:r>
              <a:rPr lang="en-US" dirty="0" err="1" smtClean="0"/>
              <a:t>TeleGrotesk</a:t>
            </a:r>
            <a:r>
              <a:rPr lang="en-US" dirty="0" smtClean="0"/>
              <a:t> Headline Ultra 28 (32) 40 </a:t>
            </a:r>
            <a:r>
              <a:rPr lang="en-US" dirty="0" err="1" smtClean="0"/>
              <a:t>pt</a:t>
            </a:r>
            <a:endParaRPr lang="en-US" dirty="0"/>
          </a:p>
        </p:txBody>
      </p:sp>
      <p:sp>
        <p:nvSpPr>
          <p:cNvPr id="3" name="Inhaltsplatzhalter 2"/>
          <p:cNvSpPr>
            <a:spLocks noGrp="1"/>
          </p:cNvSpPr>
          <p:nvPr>
            <p:ph idx="1" hasCustomPrompt="1"/>
          </p:nvPr>
        </p:nvSpPr>
        <p:spPr>
          <a:xfrm>
            <a:off x="323999" y="1476374"/>
            <a:ext cx="10872000" cy="4032251"/>
          </a:xfrm>
        </p:spPr>
        <p:txBody>
          <a:bodyPr/>
          <a:lstStyle>
            <a:lvl1pPr>
              <a:defRPr/>
            </a:lvl1pPr>
            <a:lvl2pPr>
              <a:defRPr/>
            </a:lvl2pPr>
            <a:lvl3pPr>
              <a:buClr>
                <a:schemeClr val="tx1"/>
              </a:buClr>
              <a:defRPr baseline="0"/>
            </a:lvl3pPr>
            <a:lvl4pPr>
              <a:buClr>
                <a:schemeClr val="tx1"/>
              </a:buClr>
              <a:defRPr/>
            </a:lvl4pPr>
            <a:lvl5pPr>
              <a:buClr>
                <a:schemeClr val="tx1"/>
              </a:buClr>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umsplatzhalter 3"/>
          <p:cNvSpPr>
            <a:spLocks noGrp="1"/>
          </p:cNvSpPr>
          <p:nvPr>
            <p:ph type="dt" sz="half" idx="10"/>
          </p:nvPr>
        </p:nvSpPr>
        <p:spPr/>
        <p:txBody>
          <a:bodyPr/>
          <a:lstStyle/>
          <a:p>
            <a:pPr fontAlgn="base">
              <a:spcAft>
                <a:spcPct val="0"/>
              </a:spcAft>
            </a:pPr>
            <a:r>
              <a:rPr lang="en-US" noProof="0" dirty="0" err="1" smtClean="0"/>
              <a:t>dd.mm.yyyy</a:t>
            </a:r>
            <a:endParaRPr lang="en-US" noProof="0" dirty="0"/>
          </a:p>
        </p:txBody>
      </p:sp>
      <p:sp>
        <p:nvSpPr>
          <p:cNvPr id="5" name="Foliennummernplatzhalter 4"/>
          <p:cNvSpPr>
            <a:spLocks noGrp="1"/>
          </p:cNvSpPr>
          <p:nvPr>
            <p:ph type="sldNum" sz="quarter" idx="11"/>
          </p:nvPr>
        </p:nvSpPr>
        <p:spPr/>
        <p:txBody>
          <a:bodyPr/>
          <a:lstStyle/>
          <a:p>
            <a:pPr fontAlgn="base">
              <a:spcAft>
                <a:spcPct val="0"/>
              </a:spcAft>
            </a:pPr>
            <a:fld id="{31ED8236-F742-4994-B025-3D78EEC04644}" type="slidenum">
              <a:rPr lang="en-US" noProof="0" smtClean="0"/>
              <a:pPr fontAlgn="base">
                <a:spcAft>
                  <a:spcPct val="0"/>
                </a:spcAft>
              </a:pPr>
              <a:t>‹#›</a:t>
            </a:fld>
            <a:endParaRPr lang="en-US" noProof="0" dirty="0"/>
          </a:p>
        </p:txBody>
      </p:sp>
      <p:sp>
        <p:nvSpPr>
          <p:cNvPr id="6" name="Fußzeilenplatzhalter 5"/>
          <p:cNvSpPr>
            <a:spLocks noGrp="1"/>
          </p:cNvSpPr>
          <p:nvPr>
            <p:ph type="ftr" sz="quarter" idx="12"/>
          </p:nvPr>
        </p:nvSpPr>
        <p:spPr/>
        <p:txBody>
          <a:bodyPr/>
          <a:lstStyle/>
          <a:p>
            <a:r>
              <a:rPr lang="en-US" noProof="0" dirty="0" smtClean="0"/>
              <a:t>– Strictly confidential, Confidential, Internal –     Author/Presentation Topic</a:t>
            </a:r>
            <a:endParaRPr lang="en-US" noProof="0"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ext (2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3999" y="252000"/>
            <a:ext cx="10872000" cy="504000"/>
          </a:xfrm>
        </p:spPr>
        <p:txBody>
          <a:bodyPr/>
          <a:lstStyle>
            <a:lvl1pPr marL="0" indent="0">
              <a:defRPr/>
            </a:lvl1pPr>
          </a:lstStyle>
          <a:p>
            <a:r>
              <a:rPr lang="en-US" dirty="0" err="1" smtClean="0"/>
              <a:t>TeleGrotesk</a:t>
            </a:r>
            <a:r>
              <a:rPr lang="en-US" dirty="0" smtClean="0"/>
              <a:t> Headline Ultra 28 (32) 40 </a:t>
            </a:r>
            <a:r>
              <a:rPr lang="en-US" dirty="0" err="1" smtClean="0"/>
              <a:t>pt</a:t>
            </a:r>
            <a:endParaRPr lang="en-US" dirty="0"/>
          </a:p>
        </p:txBody>
      </p:sp>
      <p:sp>
        <p:nvSpPr>
          <p:cNvPr id="3" name="Inhaltsplatzhalter 2"/>
          <p:cNvSpPr>
            <a:spLocks noGrp="1"/>
          </p:cNvSpPr>
          <p:nvPr>
            <p:ph sz="half" idx="1" hasCustomPrompt="1"/>
          </p:nvPr>
        </p:nvSpPr>
        <p:spPr>
          <a:xfrm>
            <a:off x="324000" y="1476374"/>
            <a:ext cx="5365600" cy="4032251"/>
          </a:xfrm>
        </p:spPr>
        <p:txBody>
          <a:bodyP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Inhaltsplatzhalter 3"/>
          <p:cNvSpPr>
            <a:spLocks noGrp="1"/>
          </p:cNvSpPr>
          <p:nvPr>
            <p:ph sz="half" idx="2" hasCustomPrompt="1"/>
          </p:nvPr>
        </p:nvSpPr>
        <p:spPr>
          <a:xfrm>
            <a:off x="5832475" y="1476374"/>
            <a:ext cx="5364000" cy="4032251"/>
          </a:xfrm>
        </p:spPr>
        <p:txBody>
          <a:bodyP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umsplatzhalter 4"/>
          <p:cNvSpPr>
            <a:spLocks noGrp="1"/>
          </p:cNvSpPr>
          <p:nvPr>
            <p:ph type="dt" sz="half" idx="10"/>
          </p:nvPr>
        </p:nvSpPr>
        <p:spPr/>
        <p:txBody>
          <a:bodyPr/>
          <a:lstStyle/>
          <a:p>
            <a:pPr fontAlgn="base">
              <a:spcAft>
                <a:spcPct val="0"/>
              </a:spcAft>
            </a:pPr>
            <a:r>
              <a:rPr lang="en-US" noProof="0" dirty="0" err="1" smtClean="0"/>
              <a:t>dd.mm.yyyy</a:t>
            </a:r>
            <a:endParaRPr lang="en-US" noProof="0" dirty="0"/>
          </a:p>
        </p:txBody>
      </p:sp>
      <p:sp>
        <p:nvSpPr>
          <p:cNvPr id="6" name="Foliennummernplatzhalter 5"/>
          <p:cNvSpPr>
            <a:spLocks noGrp="1"/>
          </p:cNvSpPr>
          <p:nvPr>
            <p:ph type="sldNum" sz="quarter" idx="11"/>
          </p:nvPr>
        </p:nvSpPr>
        <p:spPr/>
        <p:txBody>
          <a:bodyPr/>
          <a:lstStyle/>
          <a:p>
            <a:pPr fontAlgn="base">
              <a:spcAft>
                <a:spcPct val="0"/>
              </a:spcAft>
            </a:pPr>
            <a:fld id="{31ED8236-F742-4994-B025-3D78EEC04644}" type="slidenum">
              <a:rPr lang="en-US" noProof="0" smtClean="0"/>
              <a:pPr fontAlgn="base">
                <a:spcAft>
                  <a:spcPct val="0"/>
                </a:spcAft>
              </a:pPr>
              <a:t>‹#›</a:t>
            </a:fld>
            <a:endParaRPr lang="en-US" noProof="0" dirty="0"/>
          </a:p>
        </p:txBody>
      </p:sp>
      <p:sp>
        <p:nvSpPr>
          <p:cNvPr id="7" name="Fußzeilenplatzhalter 6"/>
          <p:cNvSpPr>
            <a:spLocks noGrp="1"/>
          </p:cNvSpPr>
          <p:nvPr>
            <p:ph type="ftr" sz="quarter" idx="12"/>
          </p:nvPr>
        </p:nvSpPr>
        <p:spPr/>
        <p:txBody>
          <a:bodyPr/>
          <a:lstStyle/>
          <a:p>
            <a:r>
              <a:rPr lang="en-US" noProof="0" dirty="0" smtClean="0"/>
              <a:t>– Strictly confidential, Confidential, Internal –     Author/Presentation Topic</a:t>
            </a:r>
            <a:endParaRPr lang="en-US" noProof="0"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3999" y="252000"/>
            <a:ext cx="10872000" cy="504000"/>
          </a:xfrm>
        </p:spPr>
        <p:txBody>
          <a:bodyPr/>
          <a:lstStyle>
            <a:lvl1pPr marL="0" indent="0">
              <a:defRPr/>
            </a:lvl1pPr>
          </a:lstStyle>
          <a:p>
            <a:r>
              <a:rPr lang="en-US" dirty="0" err="1" smtClean="0"/>
              <a:t>TeleGrotesk</a:t>
            </a:r>
            <a:r>
              <a:rPr lang="en-US" dirty="0" smtClean="0"/>
              <a:t> Headline Ultra 28 (32) 40 </a:t>
            </a:r>
            <a:r>
              <a:rPr lang="en-US" dirty="0" err="1" smtClean="0"/>
              <a:t>pt</a:t>
            </a:r>
            <a:endParaRPr lang="en-US" dirty="0"/>
          </a:p>
        </p:txBody>
      </p:sp>
      <p:sp>
        <p:nvSpPr>
          <p:cNvPr id="3" name="Inhaltsplatzhalter 2"/>
          <p:cNvSpPr>
            <a:spLocks noGrp="1"/>
          </p:cNvSpPr>
          <p:nvPr>
            <p:ph sz="half" idx="1" hasCustomPrompt="1"/>
          </p:nvPr>
        </p:nvSpPr>
        <p:spPr>
          <a:xfrm>
            <a:off x="324000" y="1476375"/>
            <a:ext cx="3528000" cy="4032250"/>
          </a:xfrm>
        </p:spPr>
        <p:txBody>
          <a:bodyP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Inhaltsplatzhalter 3"/>
          <p:cNvSpPr>
            <a:spLocks noGrp="1"/>
          </p:cNvSpPr>
          <p:nvPr>
            <p:ph sz="half" idx="2" hasCustomPrompt="1"/>
          </p:nvPr>
        </p:nvSpPr>
        <p:spPr>
          <a:xfrm>
            <a:off x="7668475" y="1476375"/>
            <a:ext cx="3528000" cy="4032250"/>
          </a:xfrm>
        </p:spPr>
        <p:txBody>
          <a:bodyP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Inhaltsplatzhalter 5"/>
          <p:cNvSpPr>
            <a:spLocks noGrp="1"/>
          </p:cNvSpPr>
          <p:nvPr>
            <p:ph sz="quarter" idx="13" hasCustomPrompt="1"/>
          </p:nvPr>
        </p:nvSpPr>
        <p:spPr>
          <a:xfrm>
            <a:off x="3996237" y="1476376"/>
            <a:ext cx="3528000" cy="4032250"/>
          </a:xfrm>
        </p:spPr>
        <p:txBody>
          <a:bodyPr/>
          <a:lstStyle>
            <a:lvl1pPr>
              <a:defRPr/>
            </a:lvl1pPr>
            <a:lvl2pPr>
              <a:defRPr/>
            </a:lvl2pPr>
            <a:lvl3pPr>
              <a:defRPr/>
            </a:lvl3pPr>
            <a:lvl4pPr>
              <a:defRPr/>
            </a:lvl4pPr>
            <a:lvl5pPr>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umsplatzhalter 6"/>
          <p:cNvSpPr>
            <a:spLocks noGrp="1"/>
          </p:cNvSpPr>
          <p:nvPr>
            <p:ph type="dt" sz="half" idx="14"/>
          </p:nvPr>
        </p:nvSpPr>
        <p:spPr/>
        <p:txBody>
          <a:bodyPr/>
          <a:lstStyle/>
          <a:p>
            <a:pPr fontAlgn="base">
              <a:spcAft>
                <a:spcPct val="0"/>
              </a:spcAft>
            </a:pPr>
            <a:r>
              <a:rPr lang="en-US" noProof="0" dirty="0" err="1" smtClean="0"/>
              <a:t>dd.mm.yyyy</a:t>
            </a:r>
            <a:endParaRPr lang="en-US" noProof="0" dirty="0"/>
          </a:p>
        </p:txBody>
      </p:sp>
      <p:sp>
        <p:nvSpPr>
          <p:cNvPr id="8" name="Foliennummernplatzhalter 7"/>
          <p:cNvSpPr>
            <a:spLocks noGrp="1"/>
          </p:cNvSpPr>
          <p:nvPr>
            <p:ph type="sldNum" sz="quarter" idx="15"/>
          </p:nvPr>
        </p:nvSpPr>
        <p:spPr/>
        <p:txBody>
          <a:bodyPr/>
          <a:lstStyle/>
          <a:p>
            <a:pPr fontAlgn="base">
              <a:spcAft>
                <a:spcPct val="0"/>
              </a:spcAft>
            </a:pPr>
            <a:fld id="{31ED8236-F742-4994-B025-3D78EEC04644}" type="slidenum">
              <a:rPr lang="en-US" noProof="0" smtClean="0"/>
              <a:pPr fontAlgn="base">
                <a:spcAft>
                  <a:spcPct val="0"/>
                </a:spcAft>
              </a:pPr>
              <a:t>‹#›</a:t>
            </a:fld>
            <a:endParaRPr lang="en-US" noProof="0" dirty="0"/>
          </a:p>
        </p:txBody>
      </p:sp>
      <p:sp>
        <p:nvSpPr>
          <p:cNvPr id="9" name="Fußzeilenplatzhalter 8"/>
          <p:cNvSpPr>
            <a:spLocks noGrp="1"/>
          </p:cNvSpPr>
          <p:nvPr>
            <p:ph type="ftr" sz="quarter" idx="16"/>
          </p:nvPr>
        </p:nvSpPr>
        <p:spPr/>
        <p:txBody>
          <a:bodyPr/>
          <a:lstStyle/>
          <a:p>
            <a:r>
              <a:rPr lang="en-US" noProof="0" dirty="0" smtClean="0"/>
              <a:t>– Strictly confidential, Confidential, Internal –     Author/Presentation Topic</a:t>
            </a:r>
            <a:endParaRPr lang="en-US" noProof="0" dirty="0"/>
          </a:p>
        </p:txBody>
      </p:sp>
    </p:spTree>
    <p:extLst>
      <p:ext uri="{BB962C8B-B14F-4D97-AF65-F5344CB8AC3E}">
        <p14:creationId xmlns:p14="http://schemas.microsoft.com/office/powerpoint/2010/main" val="330616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horizontal">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1" y="-1"/>
            <a:ext cx="11521193" cy="6480671"/>
          </a:xfrm>
          <a:prstGeom prst="rect">
            <a:avLst/>
          </a:prstGeom>
        </p:spPr>
      </p:pic>
      <p:graphicFrame>
        <p:nvGraphicFramePr>
          <p:cNvPr id="4" name="Objek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 name="think-cell Folie" r:id="rId6" imgW="360" imgH="360" progId="TCLayout.ActiveDocument.1">
                  <p:embed/>
                </p:oleObj>
              </mc:Choice>
              <mc:Fallback>
                <p:oleObj name="think-cell Folie" r:id="rId6" imgW="360" imgH="360" progId="TCLayout.ActiveDocument.1">
                  <p:embed/>
                  <p:pic>
                    <p:nvPicPr>
                      <p:cNvPr id="4" name="Objek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058" name="Titelplatzhalter 1"/>
          <p:cNvSpPr>
            <a:spLocks noGrp="1"/>
          </p:cNvSpPr>
          <p:nvPr>
            <p:ph type="ctrTitle" hasCustomPrompt="1"/>
          </p:nvPr>
        </p:nvSpPr>
        <p:spPr bwMode="black">
          <a:xfrm>
            <a:off x="323851" y="3240000"/>
            <a:ext cx="10874374" cy="1933905"/>
          </a:xfrm>
          <a:noFill/>
        </p:spPr>
        <p:txBody>
          <a:bodyPr wrap="square" lIns="0" tIns="144000">
            <a:noAutofit/>
          </a:bodyPr>
          <a:lstStyle>
            <a:lvl1pPr>
              <a:defRPr sz="6000" smtClean="0">
                <a:solidFill>
                  <a:schemeClr val="bg1"/>
                </a:solidFill>
                <a:latin typeface="TeleGrotesk Headline Ultra" pitchFamily="2" charset="0"/>
              </a:defRPr>
            </a:lvl1pPr>
          </a:lstStyle>
          <a:p>
            <a:r>
              <a:rPr lang="en-US" dirty="0" smtClean="0"/>
              <a:t>Headline Ultra (60) 75 90 PT</a:t>
            </a:r>
          </a:p>
        </p:txBody>
      </p:sp>
      <p:grpSp>
        <p:nvGrpSpPr>
          <p:cNvPr id="6" name="Gruppieren 5"/>
          <p:cNvGrpSpPr/>
          <p:nvPr userDrawn="1"/>
        </p:nvGrpSpPr>
        <p:grpSpPr>
          <a:xfrm>
            <a:off x="323850" y="5508625"/>
            <a:ext cx="4518026" cy="820738"/>
            <a:chOff x="323850" y="5508625"/>
            <a:chExt cx="4518026" cy="820738"/>
          </a:xfrm>
          <a:solidFill>
            <a:schemeClr val="bg1"/>
          </a:solidFill>
        </p:grpSpPr>
        <p:sp>
          <p:nvSpPr>
            <p:cNvPr id="7" name="Freeform 5"/>
            <p:cNvSpPr>
              <a:spLocks/>
            </p:cNvSpPr>
            <p:nvPr userDrawn="1"/>
          </p:nvSpPr>
          <p:spPr bwMode="auto">
            <a:xfrm>
              <a:off x="323850" y="5807075"/>
              <a:ext cx="131763" cy="133350"/>
            </a:xfrm>
            <a:custGeom>
              <a:avLst/>
              <a:gdLst>
                <a:gd name="T0" fmla="*/ 0 w 83"/>
                <a:gd name="T1" fmla="*/ 84 h 84"/>
                <a:gd name="T2" fmla="*/ 0 w 83"/>
                <a:gd name="T3" fmla="*/ 0 h 84"/>
                <a:gd name="T4" fmla="*/ 40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0"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p:cNvSpPr>
              <a:spLocks/>
            </p:cNvSpPr>
            <p:nvPr userDrawn="1"/>
          </p:nvSpPr>
          <p:spPr bwMode="auto">
            <a:xfrm>
              <a:off x="725488" y="5807075"/>
              <a:ext cx="131763" cy="133350"/>
            </a:xfrm>
            <a:custGeom>
              <a:avLst/>
              <a:gdLst>
                <a:gd name="T0" fmla="*/ 0 w 83"/>
                <a:gd name="T1" fmla="*/ 84 h 84"/>
                <a:gd name="T2" fmla="*/ 0 w 83"/>
                <a:gd name="T3" fmla="*/ 0 h 84"/>
                <a:gd name="T4" fmla="*/ 45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5"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p:cNvSpPr>
              <a:spLocks/>
            </p:cNvSpPr>
            <p:nvPr userDrawn="1"/>
          </p:nvSpPr>
          <p:spPr bwMode="auto">
            <a:xfrm>
              <a:off x="1120775" y="5807075"/>
              <a:ext cx="131763" cy="133350"/>
            </a:xfrm>
            <a:custGeom>
              <a:avLst/>
              <a:gdLst>
                <a:gd name="T0" fmla="*/ 0 w 83"/>
                <a:gd name="T1" fmla="*/ 84 h 84"/>
                <a:gd name="T2" fmla="*/ 0 w 83"/>
                <a:gd name="T3" fmla="*/ 0 h 84"/>
                <a:gd name="T4" fmla="*/ 42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2"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p:cNvSpPr>
              <a:spLocks/>
            </p:cNvSpPr>
            <p:nvPr userDrawn="1"/>
          </p:nvSpPr>
          <p:spPr bwMode="auto">
            <a:xfrm>
              <a:off x="1514475" y="5807075"/>
              <a:ext cx="133350" cy="133350"/>
            </a:xfrm>
            <a:custGeom>
              <a:avLst/>
              <a:gdLst>
                <a:gd name="T0" fmla="*/ 0 w 84"/>
                <a:gd name="T1" fmla="*/ 84 h 84"/>
                <a:gd name="T2" fmla="*/ 0 w 84"/>
                <a:gd name="T3" fmla="*/ 0 h 84"/>
                <a:gd name="T4" fmla="*/ 39 w 84"/>
                <a:gd name="T5" fmla="*/ 0 h 84"/>
                <a:gd name="T6" fmla="*/ 84 w 84"/>
                <a:gd name="T7" fmla="*/ 0 h 84"/>
                <a:gd name="T8" fmla="*/ 84 w 84"/>
                <a:gd name="T9" fmla="*/ 84 h 84"/>
                <a:gd name="T10" fmla="*/ 0 w 84"/>
                <a:gd name="T11" fmla="*/ 84 h 84"/>
              </a:gdLst>
              <a:ahLst/>
              <a:cxnLst>
                <a:cxn ang="0">
                  <a:pos x="T0" y="T1"/>
                </a:cxn>
                <a:cxn ang="0">
                  <a:pos x="T2" y="T3"/>
                </a:cxn>
                <a:cxn ang="0">
                  <a:pos x="T4" y="T5"/>
                </a:cxn>
                <a:cxn ang="0">
                  <a:pos x="T6" y="T7"/>
                </a:cxn>
                <a:cxn ang="0">
                  <a:pos x="T8" y="T9"/>
                </a:cxn>
                <a:cxn ang="0">
                  <a:pos x="T10" y="T11"/>
                </a:cxn>
              </a:cxnLst>
              <a:rect l="0" t="0" r="r" b="b"/>
              <a:pathLst>
                <a:path w="84" h="84">
                  <a:moveTo>
                    <a:pt x="0" y="84"/>
                  </a:moveTo>
                  <a:lnTo>
                    <a:pt x="0" y="0"/>
                  </a:lnTo>
                  <a:lnTo>
                    <a:pt x="39" y="0"/>
                  </a:lnTo>
                  <a:lnTo>
                    <a:pt x="84" y="0"/>
                  </a:lnTo>
                  <a:lnTo>
                    <a:pt x="84"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p:cNvSpPr>
              <a:spLocks/>
            </p:cNvSpPr>
            <p:nvPr userDrawn="1"/>
          </p:nvSpPr>
          <p:spPr bwMode="auto">
            <a:xfrm>
              <a:off x="323850" y="5508625"/>
              <a:ext cx="533400" cy="650875"/>
            </a:xfrm>
            <a:custGeom>
              <a:avLst/>
              <a:gdLst>
                <a:gd name="T0" fmla="*/ 322 w 325"/>
                <a:gd name="T1" fmla="*/ 0 h 397"/>
                <a:gd name="T2" fmla="*/ 4 w 325"/>
                <a:gd name="T3" fmla="*/ 0 h 397"/>
                <a:gd name="T4" fmla="*/ 0 w 325"/>
                <a:gd name="T5" fmla="*/ 140 h 397"/>
                <a:gd name="T6" fmla="*/ 21 w 325"/>
                <a:gd name="T7" fmla="*/ 143 h 397"/>
                <a:gd name="T8" fmla="*/ 54 w 325"/>
                <a:gd name="T9" fmla="*/ 52 h 397"/>
                <a:gd name="T10" fmla="*/ 131 w 325"/>
                <a:gd name="T11" fmla="*/ 19 h 397"/>
                <a:gd name="T12" fmla="*/ 131 w 325"/>
                <a:gd name="T13" fmla="*/ 312 h 397"/>
                <a:gd name="T14" fmla="*/ 120 w 325"/>
                <a:gd name="T15" fmla="*/ 362 h 397"/>
                <a:gd name="T16" fmla="*/ 88 w 325"/>
                <a:gd name="T17" fmla="*/ 374 h 397"/>
                <a:gd name="T18" fmla="*/ 65 w 325"/>
                <a:gd name="T19" fmla="*/ 374 h 397"/>
                <a:gd name="T20" fmla="*/ 65 w 325"/>
                <a:gd name="T21" fmla="*/ 397 h 397"/>
                <a:gd name="T22" fmla="*/ 261 w 325"/>
                <a:gd name="T23" fmla="*/ 397 h 397"/>
                <a:gd name="T24" fmla="*/ 261 w 325"/>
                <a:gd name="T25" fmla="*/ 374 h 397"/>
                <a:gd name="T26" fmla="*/ 238 w 325"/>
                <a:gd name="T27" fmla="*/ 374 h 397"/>
                <a:gd name="T28" fmla="*/ 206 w 325"/>
                <a:gd name="T29" fmla="*/ 362 h 397"/>
                <a:gd name="T30" fmla="*/ 194 w 325"/>
                <a:gd name="T31" fmla="*/ 312 h 397"/>
                <a:gd name="T32" fmla="*/ 194 w 325"/>
                <a:gd name="T33" fmla="*/ 19 h 397"/>
                <a:gd name="T34" fmla="*/ 272 w 325"/>
                <a:gd name="T35" fmla="*/ 52 h 397"/>
                <a:gd name="T36" fmla="*/ 304 w 325"/>
                <a:gd name="T37" fmla="*/ 143 h 397"/>
                <a:gd name="T38" fmla="*/ 325 w 325"/>
                <a:gd name="T39" fmla="*/ 140 h 397"/>
                <a:gd name="T40" fmla="*/ 322 w 325"/>
                <a:gd name="T41"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 h="397">
                  <a:moveTo>
                    <a:pt x="322" y="0"/>
                  </a:moveTo>
                  <a:cubicBezTo>
                    <a:pt x="4" y="0"/>
                    <a:pt x="4" y="0"/>
                    <a:pt x="4" y="0"/>
                  </a:cubicBezTo>
                  <a:cubicBezTo>
                    <a:pt x="0" y="140"/>
                    <a:pt x="0" y="140"/>
                    <a:pt x="0" y="140"/>
                  </a:cubicBezTo>
                  <a:cubicBezTo>
                    <a:pt x="21" y="143"/>
                    <a:pt x="21" y="143"/>
                    <a:pt x="21" y="143"/>
                  </a:cubicBezTo>
                  <a:cubicBezTo>
                    <a:pt x="25" y="102"/>
                    <a:pt x="36" y="72"/>
                    <a:pt x="54" y="52"/>
                  </a:cubicBezTo>
                  <a:cubicBezTo>
                    <a:pt x="72" y="31"/>
                    <a:pt x="98" y="20"/>
                    <a:pt x="131" y="19"/>
                  </a:cubicBezTo>
                  <a:cubicBezTo>
                    <a:pt x="131" y="312"/>
                    <a:pt x="131" y="312"/>
                    <a:pt x="131" y="312"/>
                  </a:cubicBezTo>
                  <a:cubicBezTo>
                    <a:pt x="131" y="337"/>
                    <a:pt x="127" y="354"/>
                    <a:pt x="120" y="362"/>
                  </a:cubicBezTo>
                  <a:cubicBezTo>
                    <a:pt x="114" y="368"/>
                    <a:pt x="103" y="372"/>
                    <a:pt x="88" y="374"/>
                  </a:cubicBezTo>
                  <a:cubicBezTo>
                    <a:pt x="83" y="374"/>
                    <a:pt x="76" y="374"/>
                    <a:pt x="65" y="374"/>
                  </a:cubicBezTo>
                  <a:cubicBezTo>
                    <a:pt x="65" y="397"/>
                    <a:pt x="65" y="397"/>
                    <a:pt x="65" y="397"/>
                  </a:cubicBezTo>
                  <a:cubicBezTo>
                    <a:pt x="261" y="397"/>
                    <a:pt x="261" y="397"/>
                    <a:pt x="261" y="397"/>
                  </a:cubicBezTo>
                  <a:cubicBezTo>
                    <a:pt x="261" y="374"/>
                    <a:pt x="261" y="374"/>
                    <a:pt x="261" y="374"/>
                  </a:cubicBezTo>
                  <a:cubicBezTo>
                    <a:pt x="250" y="374"/>
                    <a:pt x="242" y="374"/>
                    <a:pt x="238" y="374"/>
                  </a:cubicBezTo>
                  <a:cubicBezTo>
                    <a:pt x="223" y="372"/>
                    <a:pt x="212" y="368"/>
                    <a:pt x="206" y="362"/>
                  </a:cubicBezTo>
                  <a:cubicBezTo>
                    <a:pt x="198" y="354"/>
                    <a:pt x="194" y="337"/>
                    <a:pt x="194" y="312"/>
                  </a:cubicBezTo>
                  <a:cubicBezTo>
                    <a:pt x="194" y="19"/>
                    <a:pt x="194" y="19"/>
                    <a:pt x="194" y="19"/>
                  </a:cubicBezTo>
                  <a:cubicBezTo>
                    <a:pt x="228" y="20"/>
                    <a:pt x="253" y="31"/>
                    <a:pt x="272" y="52"/>
                  </a:cubicBezTo>
                  <a:cubicBezTo>
                    <a:pt x="290" y="72"/>
                    <a:pt x="301" y="102"/>
                    <a:pt x="304" y="143"/>
                  </a:cubicBezTo>
                  <a:cubicBezTo>
                    <a:pt x="325" y="140"/>
                    <a:pt x="325" y="140"/>
                    <a:pt x="325" y="140"/>
                  </a:cubicBezTo>
                  <a:lnTo>
                    <a:pt x="3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p:cNvSpPr>
              <a:spLocks/>
            </p:cNvSpPr>
            <p:nvPr userDrawn="1"/>
          </p:nvSpPr>
          <p:spPr bwMode="auto">
            <a:xfrm>
              <a:off x="1762125" y="5518150"/>
              <a:ext cx="392113" cy="657225"/>
            </a:xfrm>
            <a:custGeom>
              <a:avLst/>
              <a:gdLst>
                <a:gd name="T0" fmla="*/ 202 w 239"/>
                <a:gd name="T1" fmla="*/ 134 h 400"/>
                <a:gd name="T2" fmla="*/ 175 w 239"/>
                <a:gd name="T3" fmla="*/ 59 h 400"/>
                <a:gd name="T4" fmla="*/ 108 w 239"/>
                <a:gd name="T5" fmla="*/ 20 h 400"/>
                <a:gd name="T6" fmla="*/ 66 w 239"/>
                <a:gd name="T7" fmla="*/ 35 h 400"/>
                <a:gd name="T8" fmla="*/ 45 w 239"/>
                <a:gd name="T9" fmla="*/ 84 h 400"/>
                <a:gd name="T10" fmla="*/ 68 w 239"/>
                <a:gd name="T11" fmla="*/ 134 h 400"/>
                <a:gd name="T12" fmla="*/ 120 w 239"/>
                <a:gd name="T13" fmla="*/ 159 h 400"/>
                <a:gd name="T14" fmla="*/ 198 w 239"/>
                <a:gd name="T15" fmla="*/ 193 h 400"/>
                <a:gd name="T16" fmla="*/ 239 w 239"/>
                <a:gd name="T17" fmla="*/ 279 h 400"/>
                <a:gd name="T18" fmla="*/ 205 w 239"/>
                <a:gd name="T19" fmla="*/ 367 h 400"/>
                <a:gd name="T20" fmla="*/ 127 w 239"/>
                <a:gd name="T21" fmla="*/ 400 h 400"/>
                <a:gd name="T22" fmla="*/ 82 w 239"/>
                <a:gd name="T23" fmla="*/ 391 h 400"/>
                <a:gd name="T24" fmla="*/ 52 w 239"/>
                <a:gd name="T25" fmla="*/ 374 h 400"/>
                <a:gd name="T26" fmla="*/ 40 w 239"/>
                <a:gd name="T27" fmla="*/ 370 h 400"/>
                <a:gd name="T28" fmla="*/ 26 w 239"/>
                <a:gd name="T29" fmla="*/ 378 h 400"/>
                <a:gd name="T30" fmla="*/ 18 w 239"/>
                <a:gd name="T31" fmla="*/ 391 h 400"/>
                <a:gd name="T32" fmla="*/ 0 w 239"/>
                <a:gd name="T33" fmla="*/ 391 h 400"/>
                <a:gd name="T34" fmla="*/ 0 w 239"/>
                <a:gd name="T35" fmla="*/ 252 h 400"/>
                <a:gd name="T36" fmla="*/ 19 w 239"/>
                <a:gd name="T37" fmla="*/ 252 h 400"/>
                <a:gd name="T38" fmla="*/ 46 w 239"/>
                <a:gd name="T39" fmla="*/ 332 h 400"/>
                <a:gd name="T40" fmla="*/ 124 w 239"/>
                <a:gd name="T41" fmla="*/ 379 h 400"/>
                <a:gd name="T42" fmla="*/ 171 w 239"/>
                <a:gd name="T43" fmla="*/ 363 h 400"/>
                <a:gd name="T44" fmla="*/ 195 w 239"/>
                <a:gd name="T45" fmla="*/ 304 h 400"/>
                <a:gd name="T46" fmla="*/ 158 w 239"/>
                <a:gd name="T47" fmla="*/ 239 h 400"/>
                <a:gd name="T48" fmla="*/ 94 w 239"/>
                <a:gd name="T49" fmla="*/ 214 h 400"/>
                <a:gd name="T50" fmla="*/ 35 w 239"/>
                <a:gd name="T51" fmla="*/ 183 h 400"/>
                <a:gd name="T52" fmla="*/ 3 w 239"/>
                <a:gd name="T53" fmla="*/ 107 h 400"/>
                <a:gd name="T54" fmla="*/ 38 w 239"/>
                <a:gd name="T55" fmla="*/ 25 h 400"/>
                <a:gd name="T56" fmla="*/ 105 w 239"/>
                <a:gd name="T57" fmla="*/ 0 h 400"/>
                <a:gd name="T58" fmla="*/ 148 w 239"/>
                <a:gd name="T59" fmla="*/ 8 h 400"/>
                <a:gd name="T60" fmla="*/ 175 w 239"/>
                <a:gd name="T61" fmla="*/ 23 h 400"/>
                <a:gd name="T62" fmla="*/ 185 w 239"/>
                <a:gd name="T63" fmla="*/ 26 h 400"/>
                <a:gd name="T64" fmla="*/ 203 w 239"/>
                <a:gd name="T65" fmla="*/ 8 h 400"/>
                <a:gd name="T66" fmla="*/ 219 w 239"/>
                <a:gd name="T67" fmla="*/ 8 h 400"/>
                <a:gd name="T68" fmla="*/ 219 w 239"/>
                <a:gd name="T69" fmla="*/ 134 h 400"/>
                <a:gd name="T70" fmla="*/ 202 w 239"/>
                <a:gd name="T71" fmla="*/ 13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9" h="400">
                  <a:moveTo>
                    <a:pt x="202" y="134"/>
                  </a:moveTo>
                  <a:cubicBezTo>
                    <a:pt x="195" y="100"/>
                    <a:pt x="186" y="75"/>
                    <a:pt x="175" y="59"/>
                  </a:cubicBezTo>
                  <a:cubicBezTo>
                    <a:pt x="158" y="33"/>
                    <a:pt x="135" y="20"/>
                    <a:pt x="108" y="20"/>
                  </a:cubicBezTo>
                  <a:cubicBezTo>
                    <a:pt x="91" y="20"/>
                    <a:pt x="77" y="25"/>
                    <a:pt x="66" y="35"/>
                  </a:cubicBezTo>
                  <a:cubicBezTo>
                    <a:pt x="52" y="47"/>
                    <a:pt x="45" y="63"/>
                    <a:pt x="45" y="84"/>
                  </a:cubicBezTo>
                  <a:cubicBezTo>
                    <a:pt x="45" y="105"/>
                    <a:pt x="53" y="122"/>
                    <a:pt x="68" y="134"/>
                  </a:cubicBezTo>
                  <a:cubicBezTo>
                    <a:pt x="77" y="142"/>
                    <a:pt x="94" y="150"/>
                    <a:pt x="120" y="159"/>
                  </a:cubicBezTo>
                  <a:cubicBezTo>
                    <a:pt x="159" y="172"/>
                    <a:pt x="184" y="184"/>
                    <a:pt x="198" y="193"/>
                  </a:cubicBezTo>
                  <a:cubicBezTo>
                    <a:pt x="225" y="214"/>
                    <a:pt x="239" y="243"/>
                    <a:pt x="239" y="279"/>
                  </a:cubicBezTo>
                  <a:cubicBezTo>
                    <a:pt x="239" y="314"/>
                    <a:pt x="228" y="344"/>
                    <a:pt x="205" y="367"/>
                  </a:cubicBezTo>
                  <a:cubicBezTo>
                    <a:pt x="184" y="389"/>
                    <a:pt x="158" y="400"/>
                    <a:pt x="127" y="400"/>
                  </a:cubicBezTo>
                  <a:cubicBezTo>
                    <a:pt x="111" y="400"/>
                    <a:pt x="96" y="397"/>
                    <a:pt x="82" y="391"/>
                  </a:cubicBezTo>
                  <a:cubicBezTo>
                    <a:pt x="76" y="388"/>
                    <a:pt x="66" y="383"/>
                    <a:pt x="52" y="374"/>
                  </a:cubicBezTo>
                  <a:cubicBezTo>
                    <a:pt x="48" y="372"/>
                    <a:pt x="44" y="370"/>
                    <a:pt x="40" y="370"/>
                  </a:cubicBezTo>
                  <a:cubicBezTo>
                    <a:pt x="34" y="370"/>
                    <a:pt x="30" y="373"/>
                    <a:pt x="26" y="378"/>
                  </a:cubicBezTo>
                  <a:cubicBezTo>
                    <a:pt x="24" y="381"/>
                    <a:pt x="21" y="385"/>
                    <a:pt x="18" y="391"/>
                  </a:cubicBezTo>
                  <a:cubicBezTo>
                    <a:pt x="0" y="391"/>
                    <a:pt x="0" y="391"/>
                    <a:pt x="0" y="391"/>
                  </a:cubicBezTo>
                  <a:cubicBezTo>
                    <a:pt x="0" y="252"/>
                    <a:pt x="0" y="252"/>
                    <a:pt x="0" y="252"/>
                  </a:cubicBezTo>
                  <a:cubicBezTo>
                    <a:pt x="19" y="252"/>
                    <a:pt x="19" y="252"/>
                    <a:pt x="19" y="252"/>
                  </a:cubicBezTo>
                  <a:cubicBezTo>
                    <a:pt x="25" y="287"/>
                    <a:pt x="35" y="314"/>
                    <a:pt x="46" y="332"/>
                  </a:cubicBezTo>
                  <a:cubicBezTo>
                    <a:pt x="66" y="364"/>
                    <a:pt x="92" y="379"/>
                    <a:pt x="124" y="379"/>
                  </a:cubicBezTo>
                  <a:cubicBezTo>
                    <a:pt x="143" y="379"/>
                    <a:pt x="159" y="374"/>
                    <a:pt x="171" y="363"/>
                  </a:cubicBezTo>
                  <a:cubicBezTo>
                    <a:pt x="187" y="348"/>
                    <a:pt x="195" y="329"/>
                    <a:pt x="195" y="304"/>
                  </a:cubicBezTo>
                  <a:cubicBezTo>
                    <a:pt x="195" y="275"/>
                    <a:pt x="183" y="253"/>
                    <a:pt x="158" y="239"/>
                  </a:cubicBezTo>
                  <a:cubicBezTo>
                    <a:pt x="150" y="234"/>
                    <a:pt x="129" y="226"/>
                    <a:pt x="94" y="214"/>
                  </a:cubicBezTo>
                  <a:cubicBezTo>
                    <a:pt x="69" y="206"/>
                    <a:pt x="49" y="195"/>
                    <a:pt x="35" y="183"/>
                  </a:cubicBezTo>
                  <a:cubicBezTo>
                    <a:pt x="14" y="164"/>
                    <a:pt x="3" y="139"/>
                    <a:pt x="3" y="107"/>
                  </a:cubicBezTo>
                  <a:cubicBezTo>
                    <a:pt x="3" y="72"/>
                    <a:pt x="15" y="45"/>
                    <a:pt x="38" y="25"/>
                  </a:cubicBezTo>
                  <a:cubicBezTo>
                    <a:pt x="56" y="8"/>
                    <a:pt x="79" y="0"/>
                    <a:pt x="105" y="0"/>
                  </a:cubicBezTo>
                  <a:cubicBezTo>
                    <a:pt x="119" y="0"/>
                    <a:pt x="134" y="2"/>
                    <a:pt x="148" y="8"/>
                  </a:cubicBezTo>
                  <a:cubicBezTo>
                    <a:pt x="153" y="10"/>
                    <a:pt x="162" y="15"/>
                    <a:pt x="175" y="23"/>
                  </a:cubicBezTo>
                  <a:cubicBezTo>
                    <a:pt x="179" y="25"/>
                    <a:pt x="182" y="26"/>
                    <a:pt x="185" y="26"/>
                  </a:cubicBezTo>
                  <a:cubicBezTo>
                    <a:pt x="191" y="26"/>
                    <a:pt x="197" y="20"/>
                    <a:pt x="203" y="8"/>
                  </a:cubicBezTo>
                  <a:cubicBezTo>
                    <a:pt x="219" y="8"/>
                    <a:pt x="219" y="8"/>
                    <a:pt x="219" y="8"/>
                  </a:cubicBezTo>
                  <a:cubicBezTo>
                    <a:pt x="219" y="134"/>
                    <a:pt x="219" y="134"/>
                    <a:pt x="219" y="134"/>
                  </a:cubicBezTo>
                  <a:lnTo>
                    <a:pt x="202"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1"/>
            <p:cNvSpPr>
              <a:spLocks/>
            </p:cNvSpPr>
            <p:nvPr userDrawn="1"/>
          </p:nvSpPr>
          <p:spPr bwMode="auto">
            <a:xfrm>
              <a:off x="2181225" y="5727700"/>
              <a:ext cx="422275" cy="601663"/>
            </a:xfrm>
            <a:custGeom>
              <a:avLst/>
              <a:gdLst>
                <a:gd name="T0" fmla="*/ 0 w 258"/>
                <a:gd name="T1" fmla="*/ 0 h 367"/>
                <a:gd name="T2" fmla="*/ 119 w 258"/>
                <a:gd name="T3" fmla="*/ 0 h 367"/>
                <a:gd name="T4" fmla="*/ 119 w 258"/>
                <a:gd name="T5" fmla="*/ 18 h 367"/>
                <a:gd name="T6" fmla="*/ 109 w 258"/>
                <a:gd name="T7" fmla="*/ 18 h 367"/>
                <a:gd name="T8" fmla="*/ 86 w 258"/>
                <a:gd name="T9" fmla="*/ 30 h 367"/>
                <a:gd name="T10" fmla="*/ 90 w 258"/>
                <a:gd name="T11" fmla="*/ 46 h 367"/>
                <a:gd name="T12" fmla="*/ 147 w 258"/>
                <a:gd name="T13" fmla="*/ 196 h 367"/>
                <a:gd name="T14" fmla="*/ 197 w 258"/>
                <a:gd name="T15" fmla="*/ 57 h 367"/>
                <a:gd name="T16" fmla="*/ 202 w 258"/>
                <a:gd name="T17" fmla="*/ 34 h 367"/>
                <a:gd name="T18" fmla="*/ 177 w 258"/>
                <a:gd name="T19" fmla="*/ 18 h 367"/>
                <a:gd name="T20" fmla="*/ 164 w 258"/>
                <a:gd name="T21" fmla="*/ 18 h 367"/>
                <a:gd name="T22" fmla="*/ 164 w 258"/>
                <a:gd name="T23" fmla="*/ 0 h 367"/>
                <a:gd name="T24" fmla="*/ 258 w 258"/>
                <a:gd name="T25" fmla="*/ 0 h 367"/>
                <a:gd name="T26" fmla="*/ 258 w 258"/>
                <a:gd name="T27" fmla="*/ 18 h 367"/>
                <a:gd name="T28" fmla="*/ 252 w 258"/>
                <a:gd name="T29" fmla="*/ 18 h 367"/>
                <a:gd name="T30" fmla="*/ 235 w 258"/>
                <a:gd name="T31" fmla="*/ 26 h 367"/>
                <a:gd name="T32" fmla="*/ 226 w 258"/>
                <a:gd name="T33" fmla="*/ 44 h 367"/>
                <a:gd name="T34" fmla="*/ 131 w 258"/>
                <a:gd name="T35" fmla="*/ 299 h 367"/>
                <a:gd name="T36" fmla="*/ 101 w 258"/>
                <a:gd name="T37" fmla="*/ 351 h 367"/>
                <a:gd name="T38" fmla="*/ 60 w 258"/>
                <a:gd name="T39" fmla="*/ 367 h 367"/>
                <a:gd name="T40" fmla="*/ 25 w 258"/>
                <a:gd name="T41" fmla="*/ 355 h 367"/>
                <a:gd name="T42" fmla="*/ 7 w 258"/>
                <a:gd name="T43" fmla="*/ 318 h 367"/>
                <a:gd name="T44" fmla="*/ 15 w 258"/>
                <a:gd name="T45" fmla="*/ 295 h 367"/>
                <a:gd name="T46" fmla="*/ 38 w 258"/>
                <a:gd name="T47" fmla="*/ 285 h 367"/>
                <a:gd name="T48" fmla="*/ 62 w 258"/>
                <a:gd name="T49" fmla="*/ 296 h 367"/>
                <a:gd name="T50" fmla="*/ 67 w 258"/>
                <a:gd name="T51" fmla="*/ 313 h 367"/>
                <a:gd name="T52" fmla="*/ 58 w 258"/>
                <a:gd name="T53" fmla="*/ 334 h 367"/>
                <a:gd name="T54" fmla="*/ 43 w 258"/>
                <a:gd name="T55" fmla="*/ 341 h 367"/>
                <a:gd name="T56" fmla="*/ 61 w 258"/>
                <a:gd name="T57" fmla="*/ 348 h 367"/>
                <a:gd name="T58" fmla="*/ 90 w 258"/>
                <a:gd name="T59" fmla="*/ 335 h 367"/>
                <a:gd name="T60" fmla="*/ 115 w 258"/>
                <a:gd name="T61" fmla="*/ 284 h 367"/>
                <a:gd name="T62" fmla="*/ 121 w 258"/>
                <a:gd name="T63" fmla="*/ 266 h 367"/>
                <a:gd name="T64" fmla="*/ 42 w 258"/>
                <a:gd name="T65" fmla="*/ 55 h 367"/>
                <a:gd name="T66" fmla="*/ 27 w 258"/>
                <a:gd name="T67" fmla="*/ 24 h 367"/>
                <a:gd name="T68" fmla="*/ 4 w 258"/>
                <a:gd name="T69" fmla="*/ 18 h 367"/>
                <a:gd name="T70" fmla="*/ 0 w 258"/>
                <a:gd name="T71" fmla="*/ 18 h 367"/>
                <a:gd name="T72" fmla="*/ 0 w 258"/>
                <a:gd name="T73"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8" h="367">
                  <a:moveTo>
                    <a:pt x="0" y="0"/>
                  </a:moveTo>
                  <a:cubicBezTo>
                    <a:pt x="119" y="0"/>
                    <a:pt x="119" y="0"/>
                    <a:pt x="119" y="0"/>
                  </a:cubicBezTo>
                  <a:cubicBezTo>
                    <a:pt x="119" y="18"/>
                    <a:pt x="119" y="18"/>
                    <a:pt x="119" y="18"/>
                  </a:cubicBezTo>
                  <a:cubicBezTo>
                    <a:pt x="109" y="18"/>
                    <a:pt x="109" y="18"/>
                    <a:pt x="109" y="18"/>
                  </a:cubicBezTo>
                  <a:cubicBezTo>
                    <a:pt x="93" y="18"/>
                    <a:pt x="86" y="22"/>
                    <a:pt x="86" y="30"/>
                  </a:cubicBezTo>
                  <a:cubicBezTo>
                    <a:pt x="86" y="34"/>
                    <a:pt x="87" y="39"/>
                    <a:pt x="90" y="46"/>
                  </a:cubicBezTo>
                  <a:cubicBezTo>
                    <a:pt x="147" y="196"/>
                    <a:pt x="147" y="196"/>
                    <a:pt x="147" y="196"/>
                  </a:cubicBezTo>
                  <a:cubicBezTo>
                    <a:pt x="197" y="57"/>
                    <a:pt x="197" y="57"/>
                    <a:pt x="197" y="57"/>
                  </a:cubicBezTo>
                  <a:cubicBezTo>
                    <a:pt x="200" y="47"/>
                    <a:pt x="202" y="39"/>
                    <a:pt x="202" y="34"/>
                  </a:cubicBezTo>
                  <a:cubicBezTo>
                    <a:pt x="202" y="23"/>
                    <a:pt x="194" y="18"/>
                    <a:pt x="177" y="18"/>
                  </a:cubicBezTo>
                  <a:cubicBezTo>
                    <a:pt x="164" y="18"/>
                    <a:pt x="164" y="18"/>
                    <a:pt x="164" y="18"/>
                  </a:cubicBezTo>
                  <a:cubicBezTo>
                    <a:pt x="164" y="0"/>
                    <a:pt x="164" y="0"/>
                    <a:pt x="164" y="0"/>
                  </a:cubicBezTo>
                  <a:cubicBezTo>
                    <a:pt x="258" y="0"/>
                    <a:pt x="258" y="0"/>
                    <a:pt x="258" y="0"/>
                  </a:cubicBezTo>
                  <a:cubicBezTo>
                    <a:pt x="258" y="18"/>
                    <a:pt x="258" y="18"/>
                    <a:pt x="258" y="18"/>
                  </a:cubicBezTo>
                  <a:cubicBezTo>
                    <a:pt x="252" y="18"/>
                    <a:pt x="252" y="18"/>
                    <a:pt x="252" y="18"/>
                  </a:cubicBezTo>
                  <a:cubicBezTo>
                    <a:pt x="245" y="18"/>
                    <a:pt x="240" y="20"/>
                    <a:pt x="235" y="26"/>
                  </a:cubicBezTo>
                  <a:cubicBezTo>
                    <a:pt x="232" y="29"/>
                    <a:pt x="229" y="36"/>
                    <a:pt x="226" y="44"/>
                  </a:cubicBezTo>
                  <a:cubicBezTo>
                    <a:pt x="131" y="299"/>
                    <a:pt x="131" y="299"/>
                    <a:pt x="131" y="299"/>
                  </a:cubicBezTo>
                  <a:cubicBezTo>
                    <a:pt x="122" y="323"/>
                    <a:pt x="112" y="340"/>
                    <a:pt x="101" y="351"/>
                  </a:cubicBezTo>
                  <a:cubicBezTo>
                    <a:pt x="90" y="362"/>
                    <a:pt x="76" y="367"/>
                    <a:pt x="60" y="367"/>
                  </a:cubicBezTo>
                  <a:cubicBezTo>
                    <a:pt x="46" y="367"/>
                    <a:pt x="34" y="363"/>
                    <a:pt x="25" y="355"/>
                  </a:cubicBezTo>
                  <a:cubicBezTo>
                    <a:pt x="13" y="345"/>
                    <a:pt x="7" y="333"/>
                    <a:pt x="7" y="318"/>
                  </a:cubicBezTo>
                  <a:cubicBezTo>
                    <a:pt x="7" y="309"/>
                    <a:pt x="10" y="301"/>
                    <a:pt x="15" y="295"/>
                  </a:cubicBezTo>
                  <a:cubicBezTo>
                    <a:pt x="21" y="288"/>
                    <a:pt x="28" y="285"/>
                    <a:pt x="38" y="285"/>
                  </a:cubicBezTo>
                  <a:cubicBezTo>
                    <a:pt x="49" y="285"/>
                    <a:pt x="57" y="289"/>
                    <a:pt x="62" y="296"/>
                  </a:cubicBezTo>
                  <a:cubicBezTo>
                    <a:pt x="66" y="301"/>
                    <a:pt x="67" y="306"/>
                    <a:pt x="67" y="313"/>
                  </a:cubicBezTo>
                  <a:cubicBezTo>
                    <a:pt x="67" y="321"/>
                    <a:pt x="64" y="328"/>
                    <a:pt x="58" y="334"/>
                  </a:cubicBezTo>
                  <a:cubicBezTo>
                    <a:pt x="54" y="337"/>
                    <a:pt x="49" y="340"/>
                    <a:pt x="43" y="341"/>
                  </a:cubicBezTo>
                  <a:cubicBezTo>
                    <a:pt x="48" y="345"/>
                    <a:pt x="53" y="348"/>
                    <a:pt x="61" y="348"/>
                  </a:cubicBezTo>
                  <a:cubicBezTo>
                    <a:pt x="72" y="348"/>
                    <a:pt x="82" y="343"/>
                    <a:pt x="90" y="335"/>
                  </a:cubicBezTo>
                  <a:cubicBezTo>
                    <a:pt x="97" y="327"/>
                    <a:pt x="106" y="310"/>
                    <a:pt x="115" y="284"/>
                  </a:cubicBezTo>
                  <a:cubicBezTo>
                    <a:pt x="121" y="266"/>
                    <a:pt x="121" y="266"/>
                    <a:pt x="121" y="266"/>
                  </a:cubicBezTo>
                  <a:cubicBezTo>
                    <a:pt x="42" y="55"/>
                    <a:pt x="42" y="55"/>
                    <a:pt x="42" y="55"/>
                  </a:cubicBezTo>
                  <a:cubicBezTo>
                    <a:pt x="36" y="38"/>
                    <a:pt x="31" y="28"/>
                    <a:pt x="27" y="24"/>
                  </a:cubicBezTo>
                  <a:cubicBezTo>
                    <a:pt x="21" y="20"/>
                    <a:pt x="14" y="18"/>
                    <a:pt x="4" y="18"/>
                  </a:cubicBezTo>
                  <a:cubicBezTo>
                    <a:pt x="0" y="18"/>
                    <a:pt x="0" y="18"/>
                    <a:pt x="0" y="18"/>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2"/>
            <p:cNvSpPr>
              <a:spLocks/>
            </p:cNvSpPr>
            <p:nvPr userDrawn="1"/>
          </p:nvSpPr>
          <p:spPr bwMode="auto">
            <a:xfrm>
              <a:off x="2609850" y="5716588"/>
              <a:ext cx="301625" cy="452438"/>
            </a:xfrm>
            <a:custGeom>
              <a:avLst/>
              <a:gdLst>
                <a:gd name="T0" fmla="*/ 168 w 184"/>
                <a:gd name="T1" fmla="*/ 6 h 275"/>
                <a:gd name="T2" fmla="*/ 168 w 184"/>
                <a:gd name="T3" fmla="*/ 89 h 275"/>
                <a:gd name="T4" fmla="*/ 151 w 184"/>
                <a:gd name="T5" fmla="*/ 89 h 275"/>
                <a:gd name="T6" fmla="*/ 84 w 184"/>
                <a:gd name="T7" fmla="*/ 17 h 275"/>
                <a:gd name="T8" fmla="*/ 53 w 184"/>
                <a:gd name="T9" fmla="*/ 28 h 275"/>
                <a:gd name="T10" fmla="*/ 41 w 184"/>
                <a:gd name="T11" fmla="*/ 57 h 275"/>
                <a:gd name="T12" fmla="*/ 58 w 184"/>
                <a:gd name="T13" fmla="*/ 88 h 275"/>
                <a:gd name="T14" fmla="*/ 89 w 184"/>
                <a:gd name="T15" fmla="*/ 101 h 275"/>
                <a:gd name="T16" fmla="*/ 152 w 184"/>
                <a:gd name="T17" fmla="*/ 128 h 275"/>
                <a:gd name="T18" fmla="*/ 184 w 184"/>
                <a:gd name="T19" fmla="*/ 191 h 275"/>
                <a:gd name="T20" fmla="*/ 157 w 184"/>
                <a:gd name="T21" fmla="*/ 255 h 275"/>
                <a:gd name="T22" fmla="*/ 98 w 184"/>
                <a:gd name="T23" fmla="*/ 275 h 275"/>
                <a:gd name="T24" fmla="*/ 60 w 184"/>
                <a:gd name="T25" fmla="*/ 268 h 275"/>
                <a:gd name="T26" fmla="*/ 34 w 184"/>
                <a:gd name="T27" fmla="*/ 254 h 275"/>
                <a:gd name="T28" fmla="*/ 26 w 184"/>
                <a:gd name="T29" fmla="*/ 252 h 275"/>
                <a:gd name="T30" fmla="*/ 16 w 184"/>
                <a:gd name="T31" fmla="*/ 270 h 275"/>
                <a:gd name="T32" fmla="*/ 0 w 184"/>
                <a:gd name="T33" fmla="*/ 270 h 275"/>
                <a:gd name="T34" fmla="*/ 0 w 184"/>
                <a:gd name="T35" fmla="*/ 172 h 275"/>
                <a:gd name="T36" fmla="*/ 16 w 184"/>
                <a:gd name="T37" fmla="*/ 172 h 275"/>
                <a:gd name="T38" fmla="*/ 37 w 184"/>
                <a:gd name="T39" fmla="*/ 224 h 275"/>
                <a:gd name="T40" fmla="*/ 63 w 184"/>
                <a:gd name="T41" fmla="*/ 248 h 275"/>
                <a:gd name="T42" fmla="*/ 97 w 184"/>
                <a:gd name="T43" fmla="*/ 257 h 275"/>
                <a:gd name="T44" fmla="*/ 132 w 184"/>
                <a:gd name="T45" fmla="*/ 242 h 275"/>
                <a:gd name="T46" fmla="*/ 144 w 184"/>
                <a:gd name="T47" fmla="*/ 210 h 275"/>
                <a:gd name="T48" fmla="*/ 120 w 184"/>
                <a:gd name="T49" fmla="*/ 170 h 275"/>
                <a:gd name="T50" fmla="*/ 70 w 184"/>
                <a:gd name="T51" fmla="*/ 149 h 275"/>
                <a:gd name="T52" fmla="*/ 28 w 184"/>
                <a:gd name="T53" fmla="*/ 128 h 275"/>
                <a:gd name="T54" fmla="*/ 3 w 184"/>
                <a:gd name="T55" fmla="*/ 72 h 275"/>
                <a:gd name="T56" fmla="*/ 26 w 184"/>
                <a:gd name="T57" fmla="*/ 19 h 275"/>
                <a:gd name="T58" fmla="*/ 80 w 184"/>
                <a:gd name="T59" fmla="*/ 0 h 275"/>
                <a:gd name="T60" fmla="*/ 134 w 184"/>
                <a:gd name="T61" fmla="*/ 16 h 275"/>
                <a:gd name="T62" fmla="*/ 143 w 184"/>
                <a:gd name="T63" fmla="*/ 19 h 275"/>
                <a:gd name="T64" fmla="*/ 151 w 184"/>
                <a:gd name="T65" fmla="*/ 6 h 275"/>
                <a:gd name="T66" fmla="*/ 168 w 184"/>
                <a:gd name="T67" fmla="*/ 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75">
                  <a:moveTo>
                    <a:pt x="168" y="6"/>
                  </a:moveTo>
                  <a:cubicBezTo>
                    <a:pt x="168" y="89"/>
                    <a:pt x="168" y="89"/>
                    <a:pt x="168" y="89"/>
                  </a:cubicBezTo>
                  <a:cubicBezTo>
                    <a:pt x="151" y="89"/>
                    <a:pt x="151" y="89"/>
                    <a:pt x="151" y="89"/>
                  </a:cubicBezTo>
                  <a:cubicBezTo>
                    <a:pt x="142" y="41"/>
                    <a:pt x="119" y="17"/>
                    <a:pt x="84" y="17"/>
                  </a:cubicBezTo>
                  <a:cubicBezTo>
                    <a:pt x="71" y="17"/>
                    <a:pt x="61" y="21"/>
                    <a:pt x="53" y="28"/>
                  </a:cubicBezTo>
                  <a:cubicBezTo>
                    <a:pt x="45" y="36"/>
                    <a:pt x="41" y="46"/>
                    <a:pt x="41" y="57"/>
                  </a:cubicBezTo>
                  <a:cubicBezTo>
                    <a:pt x="41" y="70"/>
                    <a:pt x="47" y="80"/>
                    <a:pt x="58" y="88"/>
                  </a:cubicBezTo>
                  <a:cubicBezTo>
                    <a:pt x="64" y="92"/>
                    <a:pt x="74" y="96"/>
                    <a:pt x="89" y="101"/>
                  </a:cubicBezTo>
                  <a:cubicBezTo>
                    <a:pt x="120" y="111"/>
                    <a:pt x="142" y="120"/>
                    <a:pt x="152" y="128"/>
                  </a:cubicBezTo>
                  <a:cubicBezTo>
                    <a:pt x="173" y="144"/>
                    <a:pt x="184" y="165"/>
                    <a:pt x="184" y="191"/>
                  </a:cubicBezTo>
                  <a:cubicBezTo>
                    <a:pt x="184" y="217"/>
                    <a:pt x="175" y="238"/>
                    <a:pt x="157" y="255"/>
                  </a:cubicBezTo>
                  <a:cubicBezTo>
                    <a:pt x="141" y="269"/>
                    <a:pt x="122" y="275"/>
                    <a:pt x="98" y="275"/>
                  </a:cubicBezTo>
                  <a:cubicBezTo>
                    <a:pt x="84" y="275"/>
                    <a:pt x="71" y="273"/>
                    <a:pt x="60" y="268"/>
                  </a:cubicBezTo>
                  <a:cubicBezTo>
                    <a:pt x="55" y="266"/>
                    <a:pt x="46" y="262"/>
                    <a:pt x="34" y="254"/>
                  </a:cubicBezTo>
                  <a:cubicBezTo>
                    <a:pt x="31" y="253"/>
                    <a:pt x="28" y="252"/>
                    <a:pt x="26" y="252"/>
                  </a:cubicBezTo>
                  <a:cubicBezTo>
                    <a:pt x="23" y="252"/>
                    <a:pt x="19" y="258"/>
                    <a:pt x="16" y="270"/>
                  </a:cubicBezTo>
                  <a:cubicBezTo>
                    <a:pt x="0" y="270"/>
                    <a:pt x="0" y="270"/>
                    <a:pt x="0" y="270"/>
                  </a:cubicBezTo>
                  <a:cubicBezTo>
                    <a:pt x="0" y="172"/>
                    <a:pt x="0" y="172"/>
                    <a:pt x="0" y="172"/>
                  </a:cubicBezTo>
                  <a:cubicBezTo>
                    <a:pt x="16" y="172"/>
                    <a:pt x="16" y="172"/>
                    <a:pt x="16" y="172"/>
                  </a:cubicBezTo>
                  <a:cubicBezTo>
                    <a:pt x="23" y="196"/>
                    <a:pt x="30" y="214"/>
                    <a:pt x="37" y="224"/>
                  </a:cubicBezTo>
                  <a:cubicBezTo>
                    <a:pt x="44" y="234"/>
                    <a:pt x="53" y="242"/>
                    <a:pt x="63" y="248"/>
                  </a:cubicBezTo>
                  <a:cubicBezTo>
                    <a:pt x="74" y="254"/>
                    <a:pt x="85" y="257"/>
                    <a:pt x="97" y="257"/>
                  </a:cubicBezTo>
                  <a:cubicBezTo>
                    <a:pt x="112" y="257"/>
                    <a:pt x="123" y="252"/>
                    <a:pt x="132" y="242"/>
                  </a:cubicBezTo>
                  <a:cubicBezTo>
                    <a:pt x="140" y="233"/>
                    <a:pt x="144" y="222"/>
                    <a:pt x="144" y="210"/>
                  </a:cubicBezTo>
                  <a:cubicBezTo>
                    <a:pt x="144" y="193"/>
                    <a:pt x="136" y="179"/>
                    <a:pt x="120" y="170"/>
                  </a:cubicBezTo>
                  <a:cubicBezTo>
                    <a:pt x="112" y="164"/>
                    <a:pt x="95" y="158"/>
                    <a:pt x="70" y="149"/>
                  </a:cubicBezTo>
                  <a:cubicBezTo>
                    <a:pt x="53" y="144"/>
                    <a:pt x="39" y="137"/>
                    <a:pt x="28" y="128"/>
                  </a:cubicBezTo>
                  <a:cubicBezTo>
                    <a:pt x="11" y="115"/>
                    <a:pt x="3" y="97"/>
                    <a:pt x="3" y="72"/>
                  </a:cubicBezTo>
                  <a:cubicBezTo>
                    <a:pt x="3" y="50"/>
                    <a:pt x="10" y="32"/>
                    <a:pt x="26" y="19"/>
                  </a:cubicBezTo>
                  <a:cubicBezTo>
                    <a:pt x="40" y="6"/>
                    <a:pt x="58" y="0"/>
                    <a:pt x="80" y="0"/>
                  </a:cubicBezTo>
                  <a:cubicBezTo>
                    <a:pt x="99" y="0"/>
                    <a:pt x="117" y="5"/>
                    <a:pt x="134" y="16"/>
                  </a:cubicBezTo>
                  <a:cubicBezTo>
                    <a:pt x="138" y="18"/>
                    <a:pt x="141" y="19"/>
                    <a:pt x="143" y="19"/>
                  </a:cubicBezTo>
                  <a:cubicBezTo>
                    <a:pt x="146" y="19"/>
                    <a:pt x="149" y="14"/>
                    <a:pt x="151" y="6"/>
                  </a:cubicBezTo>
                  <a:lnTo>
                    <a:pt x="16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3"/>
            <p:cNvSpPr>
              <a:spLocks/>
            </p:cNvSpPr>
            <p:nvPr userDrawn="1"/>
          </p:nvSpPr>
          <p:spPr bwMode="auto">
            <a:xfrm>
              <a:off x="2922588" y="5562600"/>
              <a:ext cx="288925" cy="606425"/>
            </a:xfrm>
            <a:custGeom>
              <a:avLst/>
              <a:gdLst>
                <a:gd name="T0" fmla="*/ 90 w 176"/>
                <a:gd name="T1" fmla="*/ 119 h 369"/>
                <a:gd name="T2" fmla="*/ 90 w 176"/>
                <a:gd name="T3" fmla="*/ 278 h 369"/>
                <a:gd name="T4" fmla="*/ 94 w 176"/>
                <a:gd name="T5" fmla="*/ 323 h 369"/>
                <a:gd name="T6" fmla="*/ 122 w 176"/>
                <a:gd name="T7" fmla="*/ 345 h 369"/>
                <a:gd name="T8" fmla="*/ 149 w 176"/>
                <a:gd name="T9" fmla="*/ 326 h 369"/>
                <a:gd name="T10" fmla="*/ 157 w 176"/>
                <a:gd name="T11" fmla="*/ 281 h 369"/>
                <a:gd name="T12" fmla="*/ 157 w 176"/>
                <a:gd name="T13" fmla="*/ 273 h 369"/>
                <a:gd name="T14" fmla="*/ 176 w 176"/>
                <a:gd name="T15" fmla="*/ 273 h 369"/>
                <a:gd name="T16" fmla="*/ 176 w 176"/>
                <a:gd name="T17" fmla="*/ 284 h 369"/>
                <a:gd name="T18" fmla="*/ 159 w 176"/>
                <a:gd name="T19" fmla="*/ 347 h 369"/>
                <a:gd name="T20" fmla="*/ 108 w 176"/>
                <a:gd name="T21" fmla="*/ 369 h 369"/>
                <a:gd name="T22" fmla="*/ 58 w 176"/>
                <a:gd name="T23" fmla="*/ 350 h 369"/>
                <a:gd name="T24" fmla="*/ 43 w 176"/>
                <a:gd name="T25" fmla="*/ 315 h 369"/>
                <a:gd name="T26" fmla="*/ 42 w 176"/>
                <a:gd name="T27" fmla="*/ 278 h 369"/>
                <a:gd name="T28" fmla="*/ 42 w 176"/>
                <a:gd name="T29" fmla="*/ 119 h 369"/>
                <a:gd name="T30" fmla="*/ 0 w 176"/>
                <a:gd name="T31" fmla="*/ 119 h 369"/>
                <a:gd name="T32" fmla="*/ 0 w 176"/>
                <a:gd name="T33" fmla="*/ 103 h 369"/>
                <a:gd name="T34" fmla="*/ 54 w 176"/>
                <a:gd name="T35" fmla="*/ 72 h 369"/>
                <a:gd name="T36" fmla="*/ 74 w 176"/>
                <a:gd name="T37" fmla="*/ 0 h 369"/>
                <a:gd name="T38" fmla="*/ 90 w 176"/>
                <a:gd name="T39" fmla="*/ 0 h 369"/>
                <a:gd name="T40" fmla="*/ 90 w 176"/>
                <a:gd name="T41" fmla="*/ 100 h 369"/>
                <a:gd name="T42" fmla="*/ 167 w 176"/>
                <a:gd name="T43" fmla="*/ 100 h 369"/>
                <a:gd name="T44" fmla="*/ 167 w 176"/>
                <a:gd name="T45" fmla="*/ 119 h 369"/>
                <a:gd name="T46" fmla="*/ 90 w 176"/>
                <a:gd name="T47" fmla="*/ 1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6" h="369">
                  <a:moveTo>
                    <a:pt x="90" y="119"/>
                  </a:moveTo>
                  <a:cubicBezTo>
                    <a:pt x="90" y="278"/>
                    <a:pt x="90" y="278"/>
                    <a:pt x="90" y="278"/>
                  </a:cubicBezTo>
                  <a:cubicBezTo>
                    <a:pt x="90" y="299"/>
                    <a:pt x="92" y="314"/>
                    <a:pt x="94" y="323"/>
                  </a:cubicBezTo>
                  <a:cubicBezTo>
                    <a:pt x="99" y="338"/>
                    <a:pt x="108" y="345"/>
                    <a:pt x="122" y="345"/>
                  </a:cubicBezTo>
                  <a:cubicBezTo>
                    <a:pt x="134" y="345"/>
                    <a:pt x="143" y="339"/>
                    <a:pt x="149" y="326"/>
                  </a:cubicBezTo>
                  <a:cubicBezTo>
                    <a:pt x="154" y="314"/>
                    <a:pt x="157" y="299"/>
                    <a:pt x="157" y="281"/>
                  </a:cubicBezTo>
                  <a:cubicBezTo>
                    <a:pt x="157" y="273"/>
                    <a:pt x="157" y="273"/>
                    <a:pt x="157" y="273"/>
                  </a:cubicBezTo>
                  <a:cubicBezTo>
                    <a:pt x="176" y="273"/>
                    <a:pt x="176" y="273"/>
                    <a:pt x="176" y="273"/>
                  </a:cubicBezTo>
                  <a:cubicBezTo>
                    <a:pt x="176" y="284"/>
                    <a:pt x="176" y="284"/>
                    <a:pt x="176" y="284"/>
                  </a:cubicBezTo>
                  <a:cubicBezTo>
                    <a:pt x="176" y="310"/>
                    <a:pt x="170" y="331"/>
                    <a:pt x="159" y="347"/>
                  </a:cubicBezTo>
                  <a:cubicBezTo>
                    <a:pt x="148" y="362"/>
                    <a:pt x="131" y="369"/>
                    <a:pt x="108" y="369"/>
                  </a:cubicBezTo>
                  <a:cubicBezTo>
                    <a:pt x="85" y="369"/>
                    <a:pt x="69" y="363"/>
                    <a:pt x="58" y="350"/>
                  </a:cubicBezTo>
                  <a:cubicBezTo>
                    <a:pt x="50" y="340"/>
                    <a:pt x="45" y="329"/>
                    <a:pt x="43" y="315"/>
                  </a:cubicBezTo>
                  <a:cubicBezTo>
                    <a:pt x="42" y="305"/>
                    <a:pt x="42" y="293"/>
                    <a:pt x="42" y="278"/>
                  </a:cubicBezTo>
                  <a:cubicBezTo>
                    <a:pt x="42" y="119"/>
                    <a:pt x="42" y="119"/>
                    <a:pt x="42" y="119"/>
                  </a:cubicBezTo>
                  <a:cubicBezTo>
                    <a:pt x="0" y="119"/>
                    <a:pt x="0" y="119"/>
                    <a:pt x="0" y="119"/>
                  </a:cubicBezTo>
                  <a:cubicBezTo>
                    <a:pt x="0" y="103"/>
                    <a:pt x="0" y="103"/>
                    <a:pt x="0" y="103"/>
                  </a:cubicBezTo>
                  <a:cubicBezTo>
                    <a:pt x="27" y="97"/>
                    <a:pt x="45" y="86"/>
                    <a:pt x="54" y="72"/>
                  </a:cubicBezTo>
                  <a:cubicBezTo>
                    <a:pt x="64" y="57"/>
                    <a:pt x="71" y="33"/>
                    <a:pt x="74" y="0"/>
                  </a:cubicBezTo>
                  <a:cubicBezTo>
                    <a:pt x="90" y="0"/>
                    <a:pt x="90" y="0"/>
                    <a:pt x="90" y="0"/>
                  </a:cubicBezTo>
                  <a:cubicBezTo>
                    <a:pt x="90" y="100"/>
                    <a:pt x="90" y="100"/>
                    <a:pt x="90" y="100"/>
                  </a:cubicBezTo>
                  <a:cubicBezTo>
                    <a:pt x="167" y="100"/>
                    <a:pt x="167" y="100"/>
                    <a:pt x="167" y="100"/>
                  </a:cubicBezTo>
                  <a:cubicBezTo>
                    <a:pt x="167" y="119"/>
                    <a:pt x="167" y="119"/>
                    <a:pt x="167" y="119"/>
                  </a:cubicBezTo>
                  <a:lnTo>
                    <a:pt x="90"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14"/>
            <p:cNvSpPr>
              <a:spLocks noEditPoints="1"/>
            </p:cNvSpPr>
            <p:nvPr userDrawn="1"/>
          </p:nvSpPr>
          <p:spPr bwMode="auto">
            <a:xfrm>
              <a:off x="3238500" y="5713413"/>
              <a:ext cx="344488" cy="460375"/>
            </a:xfrm>
            <a:custGeom>
              <a:avLst/>
              <a:gdLst>
                <a:gd name="T0" fmla="*/ 210 w 210"/>
                <a:gd name="T1" fmla="*/ 138 h 280"/>
                <a:gd name="T2" fmla="*/ 53 w 210"/>
                <a:gd name="T3" fmla="*/ 138 h 280"/>
                <a:gd name="T4" fmla="*/ 65 w 210"/>
                <a:gd name="T5" fmla="*/ 220 h 280"/>
                <a:gd name="T6" fmla="*/ 119 w 210"/>
                <a:gd name="T7" fmla="*/ 257 h 280"/>
                <a:gd name="T8" fmla="*/ 168 w 210"/>
                <a:gd name="T9" fmla="*/ 234 h 280"/>
                <a:gd name="T10" fmla="*/ 190 w 210"/>
                <a:gd name="T11" fmla="*/ 198 h 280"/>
                <a:gd name="T12" fmla="*/ 207 w 210"/>
                <a:gd name="T13" fmla="*/ 207 h 280"/>
                <a:gd name="T14" fmla="*/ 110 w 210"/>
                <a:gd name="T15" fmla="*/ 280 h 280"/>
                <a:gd name="T16" fmla="*/ 36 w 210"/>
                <a:gd name="T17" fmla="*/ 249 h 280"/>
                <a:gd name="T18" fmla="*/ 0 w 210"/>
                <a:gd name="T19" fmla="*/ 138 h 280"/>
                <a:gd name="T20" fmla="*/ 36 w 210"/>
                <a:gd name="T21" fmla="*/ 31 h 280"/>
                <a:gd name="T22" fmla="*/ 104 w 210"/>
                <a:gd name="T23" fmla="*/ 0 h 280"/>
                <a:gd name="T24" fmla="*/ 193 w 210"/>
                <a:gd name="T25" fmla="*/ 59 h 280"/>
                <a:gd name="T26" fmla="*/ 210 w 210"/>
                <a:gd name="T27" fmla="*/ 138 h 280"/>
                <a:gd name="T28" fmla="*/ 157 w 210"/>
                <a:gd name="T29" fmla="*/ 118 h 280"/>
                <a:gd name="T30" fmla="*/ 150 w 210"/>
                <a:gd name="T31" fmla="*/ 60 h 280"/>
                <a:gd name="T32" fmla="*/ 107 w 210"/>
                <a:gd name="T33" fmla="*/ 20 h 280"/>
                <a:gd name="T34" fmla="*/ 60 w 210"/>
                <a:gd name="T35" fmla="*/ 69 h 280"/>
                <a:gd name="T36" fmla="*/ 54 w 210"/>
                <a:gd name="T37" fmla="*/ 118 h 280"/>
                <a:gd name="T38" fmla="*/ 157 w 210"/>
                <a:gd name="T39"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80">
                  <a:moveTo>
                    <a:pt x="210" y="138"/>
                  </a:moveTo>
                  <a:cubicBezTo>
                    <a:pt x="53" y="138"/>
                    <a:pt x="53" y="138"/>
                    <a:pt x="53" y="138"/>
                  </a:cubicBezTo>
                  <a:cubicBezTo>
                    <a:pt x="54" y="175"/>
                    <a:pt x="58" y="202"/>
                    <a:pt x="65" y="220"/>
                  </a:cubicBezTo>
                  <a:cubicBezTo>
                    <a:pt x="75" y="245"/>
                    <a:pt x="93" y="257"/>
                    <a:pt x="119" y="257"/>
                  </a:cubicBezTo>
                  <a:cubicBezTo>
                    <a:pt x="139" y="257"/>
                    <a:pt x="155" y="249"/>
                    <a:pt x="168" y="234"/>
                  </a:cubicBezTo>
                  <a:cubicBezTo>
                    <a:pt x="176" y="225"/>
                    <a:pt x="183" y="213"/>
                    <a:pt x="190" y="198"/>
                  </a:cubicBezTo>
                  <a:cubicBezTo>
                    <a:pt x="207" y="207"/>
                    <a:pt x="207" y="207"/>
                    <a:pt x="207" y="207"/>
                  </a:cubicBezTo>
                  <a:cubicBezTo>
                    <a:pt x="183" y="256"/>
                    <a:pt x="151" y="280"/>
                    <a:pt x="110" y="280"/>
                  </a:cubicBezTo>
                  <a:cubicBezTo>
                    <a:pt x="80" y="280"/>
                    <a:pt x="55" y="269"/>
                    <a:pt x="36" y="249"/>
                  </a:cubicBezTo>
                  <a:cubicBezTo>
                    <a:pt x="12" y="223"/>
                    <a:pt x="0" y="186"/>
                    <a:pt x="0" y="138"/>
                  </a:cubicBezTo>
                  <a:cubicBezTo>
                    <a:pt x="0" y="94"/>
                    <a:pt x="12" y="58"/>
                    <a:pt x="36" y="31"/>
                  </a:cubicBezTo>
                  <a:cubicBezTo>
                    <a:pt x="55" y="10"/>
                    <a:pt x="77" y="0"/>
                    <a:pt x="104" y="0"/>
                  </a:cubicBezTo>
                  <a:cubicBezTo>
                    <a:pt x="143" y="0"/>
                    <a:pt x="173" y="19"/>
                    <a:pt x="193" y="59"/>
                  </a:cubicBezTo>
                  <a:cubicBezTo>
                    <a:pt x="203" y="80"/>
                    <a:pt x="209" y="106"/>
                    <a:pt x="210" y="138"/>
                  </a:cubicBezTo>
                  <a:close/>
                  <a:moveTo>
                    <a:pt x="157" y="118"/>
                  </a:moveTo>
                  <a:cubicBezTo>
                    <a:pt x="157" y="94"/>
                    <a:pt x="155" y="75"/>
                    <a:pt x="150" y="60"/>
                  </a:cubicBezTo>
                  <a:cubicBezTo>
                    <a:pt x="141" y="33"/>
                    <a:pt x="126" y="20"/>
                    <a:pt x="107" y="20"/>
                  </a:cubicBezTo>
                  <a:cubicBezTo>
                    <a:pt x="85" y="20"/>
                    <a:pt x="69" y="36"/>
                    <a:pt x="60" y="69"/>
                  </a:cubicBezTo>
                  <a:cubicBezTo>
                    <a:pt x="56" y="82"/>
                    <a:pt x="54" y="99"/>
                    <a:pt x="54" y="118"/>
                  </a:cubicBezTo>
                  <a:lnTo>
                    <a:pt x="157"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p:cNvSpPr>
              <a:spLocks/>
            </p:cNvSpPr>
            <p:nvPr userDrawn="1"/>
          </p:nvSpPr>
          <p:spPr bwMode="auto">
            <a:xfrm>
              <a:off x="3616325" y="5716588"/>
              <a:ext cx="649288" cy="442913"/>
            </a:xfrm>
            <a:custGeom>
              <a:avLst/>
              <a:gdLst>
                <a:gd name="T0" fmla="*/ 312 w 396"/>
                <a:gd name="T1" fmla="*/ 270 h 270"/>
                <a:gd name="T2" fmla="*/ 312 w 396"/>
                <a:gd name="T3" fmla="*/ 108 h 270"/>
                <a:gd name="T4" fmla="*/ 305 w 396"/>
                <a:gd name="T5" fmla="*/ 44 h 270"/>
                <a:gd name="T6" fmla="*/ 275 w 396"/>
                <a:gd name="T7" fmla="*/ 25 h 270"/>
                <a:gd name="T8" fmla="*/ 236 w 396"/>
                <a:gd name="T9" fmla="*/ 52 h 270"/>
                <a:gd name="T10" fmla="*/ 225 w 396"/>
                <a:gd name="T11" fmla="*/ 84 h 270"/>
                <a:gd name="T12" fmla="*/ 223 w 396"/>
                <a:gd name="T13" fmla="*/ 134 h 270"/>
                <a:gd name="T14" fmla="*/ 223 w 396"/>
                <a:gd name="T15" fmla="*/ 205 h 270"/>
                <a:gd name="T16" fmla="*/ 230 w 396"/>
                <a:gd name="T17" fmla="*/ 245 h 270"/>
                <a:gd name="T18" fmla="*/ 252 w 396"/>
                <a:gd name="T19" fmla="*/ 252 h 270"/>
                <a:gd name="T20" fmla="*/ 261 w 396"/>
                <a:gd name="T21" fmla="*/ 252 h 270"/>
                <a:gd name="T22" fmla="*/ 261 w 396"/>
                <a:gd name="T23" fmla="*/ 270 h 270"/>
                <a:gd name="T24" fmla="*/ 175 w 396"/>
                <a:gd name="T25" fmla="*/ 270 h 270"/>
                <a:gd name="T26" fmla="*/ 175 w 396"/>
                <a:gd name="T27" fmla="*/ 117 h 270"/>
                <a:gd name="T28" fmla="*/ 173 w 396"/>
                <a:gd name="T29" fmla="*/ 66 h 270"/>
                <a:gd name="T30" fmla="*/ 137 w 396"/>
                <a:gd name="T31" fmla="*/ 25 h 270"/>
                <a:gd name="T32" fmla="*/ 99 w 396"/>
                <a:gd name="T33" fmla="*/ 53 h 270"/>
                <a:gd name="T34" fmla="*/ 89 w 396"/>
                <a:gd name="T35" fmla="*/ 81 h 270"/>
                <a:gd name="T36" fmla="*/ 86 w 396"/>
                <a:gd name="T37" fmla="*/ 134 h 270"/>
                <a:gd name="T38" fmla="*/ 86 w 396"/>
                <a:gd name="T39" fmla="*/ 205 h 270"/>
                <a:gd name="T40" fmla="*/ 93 w 396"/>
                <a:gd name="T41" fmla="*/ 245 h 270"/>
                <a:gd name="T42" fmla="*/ 116 w 396"/>
                <a:gd name="T43" fmla="*/ 252 h 270"/>
                <a:gd name="T44" fmla="*/ 124 w 396"/>
                <a:gd name="T45" fmla="*/ 252 h 270"/>
                <a:gd name="T46" fmla="*/ 124 w 396"/>
                <a:gd name="T47" fmla="*/ 270 h 270"/>
                <a:gd name="T48" fmla="*/ 0 w 396"/>
                <a:gd name="T49" fmla="*/ 270 h 270"/>
                <a:gd name="T50" fmla="*/ 0 w 396"/>
                <a:gd name="T51" fmla="*/ 252 h 270"/>
                <a:gd name="T52" fmla="*/ 9 w 396"/>
                <a:gd name="T53" fmla="*/ 252 h 270"/>
                <a:gd name="T54" fmla="*/ 31 w 396"/>
                <a:gd name="T55" fmla="*/ 245 h 270"/>
                <a:gd name="T56" fmla="*/ 38 w 396"/>
                <a:gd name="T57" fmla="*/ 205 h 270"/>
                <a:gd name="T58" fmla="*/ 38 w 396"/>
                <a:gd name="T59" fmla="*/ 69 h 270"/>
                <a:gd name="T60" fmla="*/ 31 w 396"/>
                <a:gd name="T61" fmla="*/ 30 h 270"/>
                <a:gd name="T62" fmla="*/ 9 w 396"/>
                <a:gd name="T63" fmla="*/ 24 h 270"/>
                <a:gd name="T64" fmla="*/ 2 w 396"/>
                <a:gd name="T65" fmla="*/ 24 h 270"/>
                <a:gd name="T66" fmla="*/ 2 w 396"/>
                <a:gd name="T67" fmla="*/ 6 h 270"/>
                <a:gd name="T68" fmla="*/ 83 w 396"/>
                <a:gd name="T69" fmla="*/ 2 h 270"/>
                <a:gd name="T70" fmla="*/ 83 w 396"/>
                <a:gd name="T71" fmla="*/ 49 h 270"/>
                <a:gd name="T72" fmla="*/ 99 w 396"/>
                <a:gd name="T73" fmla="*/ 23 h 270"/>
                <a:gd name="T74" fmla="*/ 150 w 396"/>
                <a:gd name="T75" fmla="*/ 0 h 270"/>
                <a:gd name="T76" fmla="*/ 217 w 396"/>
                <a:gd name="T77" fmla="*/ 52 h 270"/>
                <a:gd name="T78" fmla="*/ 288 w 396"/>
                <a:gd name="T79" fmla="*/ 0 h 270"/>
                <a:gd name="T80" fmla="*/ 346 w 396"/>
                <a:gd name="T81" fmla="*/ 30 h 270"/>
                <a:gd name="T82" fmla="*/ 358 w 396"/>
                <a:gd name="T83" fmla="*/ 66 h 270"/>
                <a:gd name="T84" fmla="*/ 360 w 396"/>
                <a:gd name="T85" fmla="*/ 102 h 270"/>
                <a:gd name="T86" fmla="*/ 360 w 396"/>
                <a:gd name="T87" fmla="*/ 205 h 270"/>
                <a:gd name="T88" fmla="*/ 367 w 396"/>
                <a:gd name="T89" fmla="*/ 245 h 270"/>
                <a:gd name="T90" fmla="*/ 389 w 396"/>
                <a:gd name="T91" fmla="*/ 252 h 270"/>
                <a:gd name="T92" fmla="*/ 396 w 396"/>
                <a:gd name="T93" fmla="*/ 252 h 270"/>
                <a:gd name="T94" fmla="*/ 396 w 396"/>
                <a:gd name="T95" fmla="*/ 270 h 270"/>
                <a:gd name="T96" fmla="*/ 312 w 396"/>
                <a:gd name="T97"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6" h="270">
                  <a:moveTo>
                    <a:pt x="312" y="270"/>
                  </a:moveTo>
                  <a:cubicBezTo>
                    <a:pt x="312" y="108"/>
                    <a:pt x="312" y="108"/>
                    <a:pt x="312" y="108"/>
                  </a:cubicBezTo>
                  <a:cubicBezTo>
                    <a:pt x="312" y="75"/>
                    <a:pt x="309" y="54"/>
                    <a:pt x="305" y="44"/>
                  </a:cubicBezTo>
                  <a:cubicBezTo>
                    <a:pt x="298" y="31"/>
                    <a:pt x="288" y="25"/>
                    <a:pt x="275" y="25"/>
                  </a:cubicBezTo>
                  <a:cubicBezTo>
                    <a:pt x="259" y="25"/>
                    <a:pt x="246" y="34"/>
                    <a:pt x="236" y="52"/>
                  </a:cubicBezTo>
                  <a:cubicBezTo>
                    <a:pt x="231" y="62"/>
                    <a:pt x="227" y="73"/>
                    <a:pt x="225" y="84"/>
                  </a:cubicBezTo>
                  <a:cubicBezTo>
                    <a:pt x="224" y="93"/>
                    <a:pt x="223" y="109"/>
                    <a:pt x="223" y="134"/>
                  </a:cubicBezTo>
                  <a:cubicBezTo>
                    <a:pt x="223" y="205"/>
                    <a:pt x="223" y="205"/>
                    <a:pt x="223" y="205"/>
                  </a:cubicBezTo>
                  <a:cubicBezTo>
                    <a:pt x="223" y="226"/>
                    <a:pt x="226" y="240"/>
                    <a:pt x="230" y="245"/>
                  </a:cubicBezTo>
                  <a:cubicBezTo>
                    <a:pt x="234" y="250"/>
                    <a:pt x="242" y="252"/>
                    <a:pt x="252" y="252"/>
                  </a:cubicBezTo>
                  <a:cubicBezTo>
                    <a:pt x="261" y="252"/>
                    <a:pt x="261" y="252"/>
                    <a:pt x="261" y="252"/>
                  </a:cubicBezTo>
                  <a:cubicBezTo>
                    <a:pt x="261" y="270"/>
                    <a:pt x="261" y="270"/>
                    <a:pt x="261" y="270"/>
                  </a:cubicBezTo>
                  <a:cubicBezTo>
                    <a:pt x="175" y="270"/>
                    <a:pt x="175" y="270"/>
                    <a:pt x="175" y="270"/>
                  </a:cubicBezTo>
                  <a:cubicBezTo>
                    <a:pt x="175" y="117"/>
                    <a:pt x="175" y="117"/>
                    <a:pt x="175" y="117"/>
                  </a:cubicBezTo>
                  <a:cubicBezTo>
                    <a:pt x="175" y="91"/>
                    <a:pt x="174" y="74"/>
                    <a:pt x="173" y="66"/>
                  </a:cubicBezTo>
                  <a:cubicBezTo>
                    <a:pt x="169" y="39"/>
                    <a:pt x="157" y="25"/>
                    <a:pt x="137" y="25"/>
                  </a:cubicBezTo>
                  <a:cubicBezTo>
                    <a:pt x="121" y="25"/>
                    <a:pt x="108" y="34"/>
                    <a:pt x="99" y="53"/>
                  </a:cubicBezTo>
                  <a:cubicBezTo>
                    <a:pt x="94" y="62"/>
                    <a:pt x="91" y="71"/>
                    <a:pt x="89" y="81"/>
                  </a:cubicBezTo>
                  <a:cubicBezTo>
                    <a:pt x="87" y="91"/>
                    <a:pt x="86" y="108"/>
                    <a:pt x="86" y="134"/>
                  </a:cubicBezTo>
                  <a:cubicBezTo>
                    <a:pt x="86" y="205"/>
                    <a:pt x="86" y="205"/>
                    <a:pt x="86" y="205"/>
                  </a:cubicBezTo>
                  <a:cubicBezTo>
                    <a:pt x="86" y="227"/>
                    <a:pt x="89" y="240"/>
                    <a:pt x="93" y="245"/>
                  </a:cubicBezTo>
                  <a:cubicBezTo>
                    <a:pt x="97" y="250"/>
                    <a:pt x="105" y="252"/>
                    <a:pt x="116" y="252"/>
                  </a:cubicBezTo>
                  <a:cubicBezTo>
                    <a:pt x="124" y="252"/>
                    <a:pt x="124" y="252"/>
                    <a:pt x="124" y="252"/>
                  </a:cubicBezTo>
                  <a:cubicBezTo>
                    <a:pt x="124" y="270"/>
                    <a:pt x="124" y="270"/>
                    <a:pt x="124" y="270"/>
                  </a:cubicBezTo>
                  <a:cubicBezTo>
                    <a:pt x="0" y="270"/>
                    <a:pt x="0" y="270"/>
                    <a:pt x="0" y="270"/>
                  </a:cubicBezTo>
                  <a:cubicBezTo>
                    <a:pt x="0" y="252"/>
                    <a:pt x="0" y="252"/>
                    <a:pt x="0" y="252"/>
                  </a:cubicBezTo>
                  <a:cubicBezTo>
                    <a:pt x="9" y="252"/>
                    <a:pt x="9" y="252"/>
                    <a:pt x="9" y="252"/>
                  </a:cubicBezTo>
                  <a:cubicBezTo>
                    <a:pt x="19" y="252"/>
                    <a:pt x="27" y="250"/>
                    <a:pt x="31" y="245"/>
                  </a:cubicBezTo>
                  <a:cubicBezTo>
                    <a:pt x="36" y="240"/>
                    <a:pt x="38" y="226"/>
                    <a:pt x="38" y="205"/>
                  </a:cubicBezTo>
                  <a:cubicBezTo>
                    <a:pt x="38" y="69"/>
                    <a:pt x="38" y="69"/>
                    <a:pt x="38" y="69"/>
                  </a:cubicBezTo>
                  <a:cubicBezTo>
                    <a:pt x="38" y="49"/>
                    <a:pt x="36" y="36"/>
                    <a:pt x="31" y="30"/>
                  </a:cubicBezTo>
                  <a:cubicBezTo>
                    <a:pt x="27" y="26"/>
                    <a:pt x="19" y="24"/>
                    <a:pt x="9" y="24"/>
                  </a:cubicBezTo>
                  <a:cubicBezTo>
                    <a:pt x="2" y="24"/>
                    <a:pt x="2" y="24"/>
                    <a:pt x="2" y="24"/>
                  </a:cubicBezTo>
                  <a:cubicBezTo>
                    <a:pt x="2" y="6"/>
                    <a:pt x="2" y="6"/>
                    <a:pt x="2" y="6"/>
                  </a:cubicBezTo>
                  <a:cubicBezTo>
                    <a:pt x="83" y="2"/>
                    <a:pt x="83" y="2"/>
                    <a:pt x="83" y="2"/>
                  </a:cubicBezTo>
                  <a:cubicBezTo>
                    <a:pt x="83" y="49"/>
                    <a:pt x="83" y="49"/>
                    <a:pt x="83" y="49"/>
                  </a:cubicBezTo>
                  <a:cubicBezTo>
                    <a:pt x="87" y="39"/>
                    <a:pt x="92" y="31"/>
                    <a:pt x="99" y="23"/>
                  </a:cubicBezTo>
                  <a:cubicBezTo>
                    <a:pt x="113" y="8"/>
                    <a:pt x="130" y="0"/>
                    <a:pt x="150" y="0"/>
                  </a:cubicBezTo>
                  <a:cubicBezTo>
                    <a:pt x="181" y="0"/>
                    <a:pt x="203" y="18"/>
                    <a:pt x="217" y="52"/>
                  </a:cubicBezTo>
                  <a:cubicBezTo>
                    <a:pt x="234" y="18"/>
                    <a:pt x="257" y="0"/>
                    <a:pt x="288" y="0"/>
                  </a:cubicBezTo>
                  <a:cubicBezTo>
                    <a:pt x="314" y="0"/>
                    <a:pt x="333" y="10"/>
                    <a:pt x="346" y="30"/>
                  </a:cubicBezTo>
                  <a:cubicBezTo>
                    <a:pt x="353" y="41"/>
                    <a:pt x="357" y="53"/>
                    <a:pt x="358" y="66"/>
                  </a:cubicBezTo>
                  <a:cubicBezTo>
                    <a:pt x="359" y="77"/>
                    <a:pt x="360" y="89"/>
                    <a:pt x="360" y="102"/>
                  </a:cubicBezTo>
                  <a:cubicBezTo>
                    <a:pt x="360" y="205"/>
                    <a:pt x="360" y="205"/>
                    <a:pt x="360" y="205"/>
                  </a:cubicBezTo>
                  <a:cubicBezTo>
                    <a:pt x="360" y="226"/>
                    <a:pt x="362" y="240"/>
                    <a:pt x="367" y="245"/>
                  </a:cubicBezTo>
                  <a:cubicBezTo>
                    <a:pt x="371" y="250"/>
                    <a:pt x="378" y="252"/>
                    <a:pt x="389" y="252"/>
                  </a:cubicBezTo>
                  <a:cubicBezTo>
                    <a:pt x="396" y="252"/>
                    <a:pt x="396" y="252"/>
                    <a:pt x="396" y="252"/>
                  </a:cubicBezTo>
                  <a:cubicBezTo>
                    <a:pt x="396" y="270"/>
                    <a:pt x="396" y="270"/>
                    <a:pt x="396" y="270"/>
                  </a:cubicBezTo>
                  <a:lnTo>
                    <a:pt x="312" y="2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p:cNvSpPr>
              <a:spLocks/>
            </p:cNvSpPr>
            <p:nvPr userDrawn="1"/>
          </p:nvSpPr>
          <p:spPr bwMode="auto">
            <a:xfrm>
              <a:off x="4308475" y="5716588"/>
              <a:ext cx="301625" cy="452438"/>
            </a:xfrm>
            <a:custGeom>
              <a:avLst/>
              <a:gdLst>
                <a:gd name="T0" fmla="*/ 168 w 184"/>
                <a:gd name="T1" fmla="*/ 6 h 275"/>
                <a:gd name="T2" fmla="*/ 168 w 184"/>
                <a:gd name="T3" fmla="*/ 89 h 275"/>
                <a:gd name="T4" fmla="*/ 151 w 184"/>
                <a:gd name="T5" fmla="*/ 89 h 275"/>
                <a:gd name="T6" fmla="*/ 84 w 184"/>
                <a:gd name="T7" fmla="*/ 17 h 275"/>
                <a:gd name="T8" fmla="*/ 53 w 184"/>
                <a:gd name="T9" fmla="*/ 28 h 275"/>
                <a:gd name="T10" fmla="*/ 41 w 184"/>
                <a:gd name="T11" fmla="*/ 57 h 275"/>
                <a:gd name="T12" fmla="*/ 58 w 184"/>
                <a:gd name="T13" fmla="*/ 88 h 275"/>
                <a:gd name="T14" fmla="*/ 88 w 184"/>
                <a:gd name="T15" fmla="*/ 101 h 275"/>
                <a:gd name="T16" fmla="*/ 152 w 184"/>
                <a:gd name="T17" fmla="*/ 128 h 275"/>
                <a:gd name="T18" fmla="*/ 184 w 184"/>
                <a:gd name="T19" fmla="*/ 191 h 275"/>
                <a:gd name="T20" fmla="*/ 156 w 184"/>
                <a:gd name="T21" fmla="*/ 255 h 275"/>
                <a:gd name="T22" fmla="*/ 98 w 184"/>
                <a:gd name="T23" fmla="*/ 275 h 275"/>
                <a:gd name="T24" fmla="*/ 59 w 184"/>
                <a:gd name="T25" fmla="*/ 268 h 275"/>
                <a:gd name="T26" fmla="*/ 33 w 184"/>
                <a:gd name="T27" fmla="*/ 254 h 275"/>
                <a:gd name="T28" fmla="*/ 26 w 184"/>
                <a:gd name="T29" fmla="*/ 252 h 275"/>
                <a:gd name="T30" fmla="*/ 16 w 184"/>
                <a:gd name="T31" fmla="*/ 270 h 275"/>
                <a:gd name="T32" fmla="*/ 0 w 184"/>
                <a:gd name="T33" fmla="*/ 270 h 275"/>
                <a:gd name="T34" fmla="*/ 0 w 184"/>
                <a:gd name="T35" fmla="*/ 172 h 275"/>
                <a:gd name="T36" fmla="*/ 16 w 184"/>
                <a:gd name="T37" fmla="*/ 172 h 275"/>
                <a:gd name="T38" fmla="*/ 37 w 184"/>
                <a:gd name="T39" fmla="*/ 224 h 275"/>
                <a:gd name="T40" fmla="*/ 63 w 184"/>
                <a:gd name="T41" fmla="*/ 248 h 275"/>
                <a:gd name="T42" fmla="*/ 97 w 184"/>
                <a:gd name="T43" fmla="*/ 257 h 275"/>
                <a:gd name="T44" fmla="*/ 131 w 184"/>
                <a:gd name="T45" fmla="*/ 242 h 275"/>
                <a:gd name="T46" fmla="*/ 144 w 184"/>
                <a:gd name="T47" fmla="*/ 210 h 275"/>
                <a:gd name="T48" fmla="*/ 120 w 184"/>
                <a:gd name="T49" fmla="*/ 170 h 275"/>
                <a:gd name="T50" fmla="*/ 69 w 184"/>
                <a:gd name="T51" fmla="*/ 149 h 275"/>
                <a:gd name="T52" fmla="*/ 28 w 184"/>
                <a:gd name="T53" fmla="*/ 128 h 275"/>
                <a:gd name="T54" fmla="*/ 2 w 184"/>
                <a:gd name="T55" fmla="*/ 72 h 275"/>
                <a:gd name="T56" fmla="*/ 26 w 184"/>
                <a:gd name="T57" fmla="*/ 19 h 275"/>
                <a:gd name="T58" fmla="*/ 80 w 184"/>
                <a:gd name="T59" fmla="*/ 0 h 275"/>
                <a:gd name="T60" fmla="*/ 134 w 184"/>
                <a:gd name="T61" fmla="*/ 16 h 275"/>
                <a:gd name="T62" fmla="*/ 142 w 184"/>
                <a:gd name="T63" fmla="*/ 19 h 275"/>
                <a:gd name="T64" fmla="*/ 151 w 184"/>
                <a:gd name="T65" fmla="*/ 6 h 275"/>
                <a:gd name="T66" fmla="*/ 168 w 184"/>
                <a:gd name="T67" fmla="*/ 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75">
                  <a:moveTo>
                    <a:pt x="168" y="6"/>
                  </a:moveTo>
                  <a:cubicBezTo>
                    <a:pt x="168" y="89"/>
                    <a:pt x="168" y="89"/>
                    <a:pt x="168" y="89"/>
                  </a:cubicBezTo>
                  <a:cubicBezTo>
                    <a:pt x="151" y="89"/>
                    <a:pt x="151" y="89"/>
                    <a:pt x="151" y="89"/>
                  </a:cubicBezTo>
                  <a:cubicBezTo>
                    <a:pt x="141" y="41"/>
                    <a:pt x="119" y="17"/>
                    <a:pt x="84" y="17"/>
                  </a:cubicBezTo>
                  <a:cubicBezTo>
                    <a:pt x="71" y="17"/>
                    <a:pt x="61" y="21"/>
                    <a:pt x="53" y="28"/>
                  </a:cubicBezTo>
                  <a:cubicBezTo>
                    <a:pt x="45" y="36"/>
                    <a:pt x="41" y="46"/>
                    <a:pt x="41" y="57"/>
                  </a:cubicBezTo>
                  <a:cubicBezTo>
                    <a:pt x="41" y="70"/>
                    <a:pt x="46" y="80"/>
                    <a:pt x="58" y="88"/>
                  </a:cubicBezTo>
                  <a:cubicBezTo>
                    <a:pt x="63" y="92"/>
                    <a:pt x="74" y="96"/>
                    <a:pt x="88" y="101"/>
                  </a:cubicBezTo>
                  <a:cubicBezTo>
                    <a:pt x="120" y="111"/>
                    <a:pt x="142" y="120"/>
                    <a:pt x="152" y="128"/>
                  </a:cubicBezTo>
                  <a:cubicBezTo>
                    <a:pt x="173" y="144"/>
                    <a:pt x="184" y="165"/>
                    <a:pt x="184" y="191"/>
                  </a:cubicBezTo>
                  <a:cubicBezTo>
                    <a:pt x="184" y="217"/>
                    <a:pt x="175" y="238"/>
                    <a:pt x="156" y="255"/>
                  </a:cubicBezTo>
                  <a:cubicBezTo>
                    <a:pt x="141" y="269"/>
                    <a:pt x="121" y="275"/>
                    <a:pt x="98" y="275"/>
                  </a:cubicBezTo>
                  <a:cubicBezTo>
                    <a:pt x="84" y="275"/>
                    <a:pt x="71" y="273"/>
                    <a:pt x="59" y="268"/>
                  </a:cubicBezTo>
                  <a:cubicBezTo>
                    <a:pt x="55" y="266"/>
                    <a:pt x="46" y="262"/>
                    <a:pt x="33" y="254"/>
                  </a:cubicBezTo>
                  <a:cubicBezTo>
                    <a:pt x="31" y="253"/>
                    <a:pt x="28" y="252"/>
                    <a:pt x="26" y="252"/>
                  </a:cubicBezTo>
                  <a:cubicBezTo>
                    <a:pt x="23" y="252"/>
                    <a:pt x="19" y="258"/>
                    <a:pt x="16" y="270"/>
                  </a:cubicBezTo>
                  <a:cubicBezTo>
                    <a:pt x="0" y="270"/>
                    <a:pt x="0" y="270"/>
                    <a:pt x="0" y="270"/>
                  </a:cubicBezTo>
                  <a:cubicBezTo>
                    <a:pt x="0" y="172"/>
                    <a:pt x="0" y="172"/>
                    <a:pt x="0" y="172"/>
                  </a:cubicBezTo>
                  <a:cubicBezTo>
                    <a:pt x="16" y="172"/>
                    <a:pt x="16" y="172"/>
                    <a:pt x="16" y="172"/>
                  </a:cubicBezTo>
                  <a:cubicBezTo>
                    <a:pt x="22" y="196"/>
                    <a:pt x="29" y="214"/>
                    <a:pt x="37" y="224"/>
                  </a:cubicBezTo>
                  <a:cubicBezTo>
                    <a:pt x="44" y="234"/>
                    <a:pt x="52" y="242"/>
                    <a:pt x="63" y="248"/>
                  </a:cubicBezTo>
                  <a:cubicBezTo>
                    <a:pt x="74" y="254"/>
                    <a:pt x="85" y="257"/>
                    <a:pt x="97" y="257"/>
                  </a:cubicBezTo>
                  <a:cubicBezTo>
                    <a:pt x="112" y="257"/>
                    <a:pt x="123" y="252"/>
                    <a:pt x="131" y="242"/>
                  </a:cubicBezTo>
                  <a:cubicBezTo>
                    <a:pt x="139" y="233"/>
                    <a:pt x="144" y="222"/>
                    <a:pt x="144" y="210"/>
                  </a:cubicBezTo>
                  <a:cubicBezTo>
                    <a:pt x="144" y="193"/>
                    <a:pt x="136" y="179"/>
                    <a:pt x="120" y="170"/>
                  </a:cubicBezTo>
                  <a:cubicBezTo>
                    <a:pt x="112" y="164"/>
                    <a:pt x="95" y="158"/>
                    <a:pt x="69" y="149"/>
                  </a:cubicBezTo>
                  <a:cubicBezTo>
                    <a:pt x="52" y="144"/>
                    <a:pt x="39" y="137"/>
                    <a:pt x="28" y="128"/>
                  </a:cubicBezTo>
                  <a:cubicBezTo>
                    <a:pt x="11" y="115"/>
                    <a:pt x="2" y="97"/>
                    <a:pt x="2" y="72"/>
                  </a:cubicBezTo>
                  <a:cubicBezTo>
                    <a:pt x="2" y="50"/>
                    <a:pt x="10" y="32"/>
                    <a:pt x="26" y="19"/>
                  </a:cubicBezTo>
                  <a:cubicBezTo>
                    <a:pt x="40" y="6"/>
                    <a:pt x="58" y="0"/>
                    <a:pt x="80" y="0"/>
                  </a:cubicBezTo>
                  <a:cubicBezTo>
                    <a:pt x="99" y="0"/>
                    <a:pt x="117" y="5"/>
                    <a:pt x="134" y="16"/>
                  </a:cubicBezTo>
                  <a:cubicBezTo>
                    <a:pt x="138" y="18"/>
                    <a:pt x="140" y="19"/>
                    <a:pt x="142" y="19"/>
                  </a:cubicBezTo>
                  <a:cubicBezTo>
                    <a:pt x="146" y="19"/>
                    <a:pt x="149" y="14"/>
                    <a:pt x="151" y="6"/>
                  </a:cubicBezTo>
                  <a:lnTo>
                    <a:pt x="16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p:cNvSpPr>
              <a:spLocks/>
            </p:cNvSpPr>
            <p:nvPr userDrawn="1"/>
          </p:nvSpPr>
          <p:spPr bwMode="auto">
            <a:xfrm>
              <a:off x="4710113" y="5807075"/>
              <a:ext cx="131763" cy="133350"/>
            </a:xfrm>
            <a:custGeom>
              <a:avLst/>
              <a:gdLst>
                <a:gd name="T0" fmla="*/ 0 w 83"/>
                <a:gd name="T1" fmla="*/ 84 h 84"/>
                <a:gd name="T2" fmla="*/ 0 w 83"/>
                <a:gd name="T3" fmla="*/ 0 h 84"/>
                <a:gd name="T4" fmla="*/ 46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6"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434242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3999" y="252000"/>
            <a:ext cx="10872000" cy="504000"/>
          </a:xfrm>
        </p:spPr>
        <p:txBody>
          <a:bodyPr/>
          <a:lstStyle>
            <a:lvl1pPr marL="0" indent="0">
              <a:defRPr/>
            </a:lvl1pPr>
          </a:lstStyle>
          <a:p>
            <a:r>
              <a:rPr lang="en-US" dirty="0" err="1" smtClean="0"/>
              <a:t>TeleGrotesk</a:t>
            </a:r>
            <a:r>
              <a:rPr lang="en-US" dirty="0" smtClean="0"/>
              <a:t> Headline Ultra 28 (32) 40 </a:t>
            </a:r>
            <a:r>
              <a:rPr lang="en-US" dirty="0" err="1" smtClean="0"/>
              <a:t>pt</a:t>
            </a:r>
            <a:endParaRPr lang="en-US" dirty="0"/>
          </a:p>
        </p:txBody>
      </p:sp>
      <p:sp>
        <p:nvSpPr>
          <p:cNvPr id="3" name="Inhaltsplatzhalter 2"/>
          <p:cNvSpPr>
            <a:spLocks noGrp="1"/>
          </p:cNvSpPr>
          <p:nvPr>
            <p:ph sz="half" idx="1" hasCustomPrompt="1"/>
          </p:nvPr>
        </p:nvSpPr>
        <p:spPr>
          <a:xfrm>
            <a:off x="324000" y="1476374"/>
            <a:ext cx="2610000" cy="4032251"/>
          </a:xfrm>
        </p:spPr>
        <p:txBody>
          <a:bodyPr/>
          <a:lstStyle>
            <a:lvl1pPr>
              <a:defRPr sz="1800"/>
            </a:lvl1pPr>
            <a:lvl2pPr>
              <a:defRPr sz="1800"/>
            </a:lvl2pPr>
            <a:lvl3pPr>
              <a:buClr>
                <a:schemeClr val="tx1"/>
              </a:buClr>
              <a:defRPr sz="1800" baseline="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Inhaltsplatzhalter 3"/>
          <p:cNvSpPr>
            <a:spLocks noGrp="1"/>
          </p:cNvSpPr>
          <p:nvPr>
            <p:ph sz="half" idx="2" hasCustomPrompt="1"/>
          </p:nvPr>
        </p:nvSpPr>
        <p:spPr>
          <a:xfrm>
            <a:off x="5832316" y="1476374"/>
            <a:ext cx="2610000" cy="4032251"/>
          </a:xfrm>
        </p:spPr>
        <p:txBody>
          <a:bodyP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Inhaltsplatzhalter 5"/>
          <p:cNvSpPr>
            <a:spLocks noGrp="1"/>
          </p:cNvSpPr>
          <p:nvPr>
            <p:ph sz="quarter" idx="13" hasCustomPrompt="1"/>
          </p:nvPr>
        </p:nvSpPr>
        <p:spPr>
          <a:xfrm>
            <a:off x="3078158" y="1476375"/>
            <a:ext cx="2610000" cy="4032251"/>
          </a:xfrm>
        </p:spPr>
        <p:txBody>
          <a:bodyPr/>
          <a:lstStyle>
            <a:lvl1pPr>
              <a:defRPr/>
            </a:lvl1pPr>
            <a:lvl2pPr>
              <a:defRPr/>
            </a:lvl2pPr>
            <a:lvl3pPr>
              <a:defRPr/>
            </a:lvl3pPr>
            <a:lvl4pPr>
              <a:defRPr/>
            </a:lvl4pPr>
            <a:lvl5pPr>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Inhaltsplatzhalter 3"/>
          <p:cNvSpPr>
            <a:spLocks noGrp="1"/>
          </p:cNvSpPr>
          <p:nvPr>
            <p:ph sz="half" idx="14" hasCustomPrompt="1"/>
          </p:nvPr>
        </p:nvSpPr>
        <p:spPr>
          <a:xfrm>
            <a:off x="8586475" y="1476374"/>
            <a:ext cx="2610000" cy="4032251"/>
          </a:xfrm>
        </p:spPr>
        <p:txBody>
          <a:bodyP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umsplatzhalter 6"/>
          <p:cNvSpPr>
            <a:spLocks noGrp="1"/>
          </p:cNvSpPr>
          <p:nvPr>
            <p:ph type="dt" sz="half" idx="15"/>
          </p:nvPr>
        </p:nvSpPr>
        <p:spPr/>
        <p:txBody>
          <a:bodyPr/>
          <a:lstStyle/>
          <a:p>
            <a:pPr fontAlgn="base">
              <a:spcAft>
                <a:spcPct val="0"/>
              </a:spcAft>
            </a:pPr>
            <a:r>
              <a:rPr lang="en-US" noProof="0" dirty="0" err="1" smtClean="0"/>
              <a:t>dd.mm.yyyy</a:t>
            </a:r>
            <a:endParaRPr lang="en-US" noProof="0" dirty="0"/>
          </a:p>
        </p:txBody>
      </p:sp>
      <p:sp>
        <p:nvSpPr>
          <p:cNvPr id="8" name="Foliennummernplatzhalter 7"/>
          <p:cNvSpPr>
            <a:spLocks noGrp="1"/>
          </p:cNvSpPr>
          <p:nvPr>
            <p:ph type="sldNum" sz="quarter" idx="16"/>
          </p:nvPr>
        </p:nvSpPr>
        <p:spPr/>
        <p:txBody>
          <a:bodyPr/>
          <a:lstStyle/>
          <a:p>
            <a:pPr fontAlgn="base">
              <a:spcAft>
                <a:spcPct val="0"/>
              </a:spcAft>
            </a:pPr>
            <a:fld id="{31ED8236-F742-4994-B025-3D78EEC04644}" type="slidenum">
              <a:rPr lang="en-US" noProof="0" smtClean="0"/>
              <a:pPr fontAlgn="base">
                <a:spcAft>
                  <a:spcPct val="0"/>
                </a:spcAft>
              </a:pPr>
              <a:t>‹#›</a:t>
            </a:fld>
            <a:endParaRPr lang="en-US" noProof="0" dirty="0"/>
          </a:p>
        </p:txBody>
      </p:sp>
      <p:sp>
        <p:nvSpPr>
          <p:cNvPr id="9" name="Fußzeilenplatzhalter 8"/>
          <p:cNvSpPr>
            <a:spLocks noGrp="1"/>
          </p:cNvSpPr>
          <p:nvPr>
            <p:ph type="ftr" sz="quarter" idx="17"/>
          </p:nvPr>
        </p:nvSpPr>
        <p:spPr/>
        <p:txBody>
          <a:bodyPr/>
          <a:lstStyle/>
          <a:p>
            <a:r>
              <a:rPr lang="en-US" noProof="0" dirty="0" smtClean="0"/>
              <a:t>– Strictly confidential, Confidential, Internal –     Author/Presentation Topic</a:t>
            </a:r>
            <a:endParaRPr lang="en-US" noProof="0" dirty="0"/>
          </a:p>
        </p:txBody>
      </p:sp>
    </p:spTree>
    <p:extLst>
      <p:ext uri="{BB962C8B-B14F-4D97-AF65-F5344CB8AC3E}">
        <p14:creationId xmlns:p14="http://schemas.microsoft.com/office/powerpoint/2010/main" val="270131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with shaded boxes">
    <p:bg bwMode="ltGray">
      <p:bgPr>
        <a:solidFill>
          <a:schemeClr val="bg1"/>
        </a:solidFill>
        <a:effectLst/>
      </p:bgPr>
    </p:bg>
    <p:spTree>
      <p:nvGrpSpPr>
        <p:cNvPr id="1" name=""/>
        <p:cNvGrpSpPr/>
        <p:nvPr/>
      </p:nvGrpSpPr>
      <p:grpSpPr>
        <a:xfrm>
          <a:off x="0" y="0"/>
          <a:ext cx="0" cy="0"/>
          <a:chOff x="0" y="0"/>
          <a:chExt cx="0" cy="0"/>
        </a:xfrm>
      </p:grpSpPr>
      <p:sp>
        <p:nvSpPr>
          <p:cNvPr id="12" name="Titel 3"/>
          <p:cNvSpPr>
            <a:spLocks/>
          </p:cNvSpPr>
          <p:nvPr userDrawn="1"/>
        </p:nvSpPr>
        <p:spPr bwMode="invGray">
          <a:xfrm>
            <a:off x="324000" y="2948089"/>
            <a:ext cx="10872000" cy="2236686"/>
          </a:xfrm>
          <a:prstGeom prst="rect">
            <a:avLst/>
          </a:prstGeom>
          <a:solidFill>
            <a:srgbClr val="E20074">
              <a:alpha val="70000"/>
            </a:srgbClr>
          </a:solidFill>
          <a:ln w="9525">
            <a:noFill/>
            <a:miter lim="800000"/>
            <a:headEnd/>
            <a:tailEnd/>
          </a:ln>
        </p:spPr>
        <p:txBody>
          <a:bodyPr lIns="144000" tIns="72000" rIns="144000" bIns="72000"/>
          <a:lstStyle/>
          <a:p>
            <a:pPr defTabSz="576263" fontAlgn="base">
              <a:lnSpc>
                <a:spcPts val="4000"/>
              </a:lnSpc>
              <a:spcBef>
                <a:spcPct val="0"/>
              </a:spcBef>
              <a:spcAft>
                <a:spcPct val="0"/>
              </a:spcAft>
            </a:pPr>
            <a:endParaRPr lang="en-US" sz="4000" dirty="0">
              <a:solidFill>
                <a:srgbClr val="E20074"/>
              </a:solidFill>
              <a:latin typeface="TeleGrotesk Headline Ultra" pitchFamily="2" charset="0"/>
              <a:cs typeface="Arial Unicode MS" panose="020B0604020202020204" pitchFamily="34" charset="-128"/>
            </a:endParaRPr>
          </a:p>
        </p:txBody>
      </p:sp>
      <p:sp>
        <p:nvSpPr>
          <p:cNvPr id="13" name="Titel 3"/>
          <p:cNvSpPr>
            <a:spLocks/>
          </p:cNvSpPr>
          <p:nvPr userDrawn="1"/>
        </p:nvSpPr>
        <p:spPr bwMode="invGray">
          <a:xfrm>
            <a:off x="324000" y="1841960"/>
            <a:ext cx="10416151" cy="3342815"/>
          </a:xfrm>
          <a:prstGeom prst="rect">
            <a:avLst/>
          </a:prstGeom>
          <a:solidFill>
            <a:srgbClr val="E20074">
              <a:alpha val="70000"/>
            </a:srgbClr>
          </a:solidFill>
          <a:ln w="9525">
            <a:noFill/>
            <a:miter lim="800000"/>
            <a:headEnd/>
            <a:tailEnd/>
          </a:ln>
        </p:spPr>
        <p:txBody>
          <a:bodyPr lIns="144000" tIns="72000" rIns="144000" bIns="72000"/>
          <a:lstStyle/>
          <a:p>
            <a:pPr defTabSz="576263" fontAlgn="base">
              <a:lnSpc>
                <a:spcPts val="4000"/>
              </a:lnSpc>
              <a:spcBef>
                <a:spcPct val="0"/>
              </a:spcBef>
              <a:spcAft>
                <a:spcPct val="0"/>
              </a:spcAft>
            </a:pPr>
            <a:endParaRPr lang="en-US" sz="4000" noProof="0" dirty="0">
              <a:solidFill>
                <a:srgbClr val="E20074"/>
              </a:solidFill>
              <a:latin typeface="TeleGrotesk Headline Ultra" pitchFamily="2" charset="0"/>
              <a:cs typeface="Arial Unicode MS" panose="020B0604020202020204" pitchFamily="34" charset="-128"/>
            </a:endParaRPr>
          </a:p>
        </p:txBody>
      </p:sp>
      <p:sp>
        <p:nvSpPr>
          <p:cNvPr id="45058" name="Titelplatzhalter 1"/>
          <p:cNvSpPr>
            <a:spLocks noGrp="1"/>
          </p:cNvSpPr>
          <p:nvPr>
            <p:ph type="ctrTitle" hasCustomPrompt="1"/>
          </p:nvPr>
        </p:nvSpPr>
        <p:spPr bwMode="blackGray">
          <a:xfrm>
            <a:off x="324000" y="2153265"/>
            <a:ext cx="9719802" cy="3031510"/>
          </a:xfrm>
          <a:solidFill>
            <a:schemeClr val="tx2"/>
          </a:solidFill>
        </p:spPr>
        <p:txBody>
          <a:bodyPr lIns="144000">
            <a:noAutofit/>
          </a:bodyPr>
          <a:lstStyle>
            <a:lvl1pPr>
              <a:defRPr sz="4800" smtClean="0">
                <a:solidFill>
                  <a:schemeClr val="bg1"/>
                </a:solidFill>
                <a:latin typeface="+mj-lt"/>
              </a:defRPr>
            </a:lvl1pPr>
          </a:lstStyle>
          <a:p>
            <a:r>
              <a:rPr lang="en-US" sz="4800" dirty="0" smtClean="0"/>
              <a:t>TELEGROTESK Headline ULTRA</a:t>
            </a:r>
            <a:br>
              <a:rPr lang="en-US" sz="4800" dirty="0" smtClean="0"/>
            </a:br>
            <a:r>
              <a:rPr lang="en-US" sz="4800" dirty="0" smtClean="0">
                <a:latin typeface="TeleGrotesk Headline" pitchFamily="2" charset="0"/>
              </a:rPr>
              <a:t>Maximum of 3 lines</a:t>
            </a:r>
            <a:br>
              <a:rPr lang="en-US" sz="4800" dirty="0" smtClean="0">
                <a:latin typeface="TeleGrotesk Headline" pitchFamily="2" charset="0"/>
              </a:rPr>
            </a:br>
            <a:r>
              <a:rPr lang="en-US" sz="4800" dirty="0" smtClean="0">
                <a:latin typeface="TeleGrotesk Headline" pitchFamily="2" charset="0"/>
              </a:rPr>
              <a:t>40 (48) 60 PT</a:t>
            </a:r>
            <a:endParaRPr lang="en-US" dirty="0" smtClean="0"/>
          </a:p>
        </p:txBody>
      </p:sp>
      <p:sp>
        <p:nvSpPr>
          <p:cNvPr id="45059" name="Textplatzhalter 2"/>
          <p:cNvSpPr>
            <a:spLocks noGrp="1"/>
          </p:cNvSpPr>
          <p:nvPr>
            <p:ph type="subTitle" idx="1" hasCustomPrompt="1"/>
          </p:nvPr>
        </p:nvSpPr>
        <p:spPr bwMode="white">
          <a:xfrm>
            <a:off x="323850" y="4536000"/>
            <a:ext cx="9719951" cy="384080"/>
          </a:xfrm>
        </p:spPr>
        <p:txBody>
          <a:bodyPr wrap="square" lIns="144000">
            <a:spAutoFit/>
          </a:bodyPr>
          <a:lstStyle>
            <a:lvl1pPr>
              <a:spcBef>
                <a:spcPts val="0"/>
              </a:spcBef>
              <a:defRPr sz="2400" smtClean="0">
                <a:solidFill>
                  <a:schemeClr val="bg1"/>
                </a:solidFill>
                <a:latin typeface="Tele-GroteskNor" pitchFamily="2" charset="0"/>
              </a:defRPr>
            </a:lvl1pPr>
          </a:lstStyle>
          <a:p>
            <a:r>
              <a:rPr lang="en-US" dirty="0" smtClean="0"/>
              <a:t>Sub-heading: Tele-</a:t>
            </a:r>
            <a:r>
              <a:rPr lang="en-US" dirty="0" err="1" smtClean="0"/>
              <a:t>Grotesk</a:t>
            </a:r>
            <a:r>
              <a:rPr lang="en-US" dirty="0" smtClean="0"/>
              <a:t> Normal, 24 </a:t>
            </a:r>
            <a:r>
              <a:rPr lang="en-US" dirty="0" err="1" smtClean="0"/>
              <a:t>pt</a:t>
            </a:r>
            <a:endParaRPr lang="en-US" dirty="0" smtClean="0"/>
          </a:p>
        </p:txBody>
      </p:sp>
      <p:pic>
        <p:nvPicPr>
          <p:cNvPr id="31" name="Grafik 30" descr="TSY_Logo_3c_p.emf"/>
          <p:cNvPicPr>
            <a:picLocks noChangeAspect="1"/>
          </p:cNvPicPr>
          <p:nvPr userDrawn="1"/>
        </p:nvPicPr>
        <p:blipFill>
          <a:blip r:embed="rId2"/>
          <a:stretch>
            <a:fillRect/>
          </a:stretch>
        </p:blipFill>
        <p:spPr>
          <a:xfrm>
            <a:off x="323848" y="5671799"/>
            <a:ext cx="3388872" cy="615600"/>
          </a:xfrm>
          <a:prstGeom prst="rect">
            <a:avLst/>
          </a:prstGeom>
        </p:spPr>
      </p:pic>
    </p:spTree>
    <p:extLst>
      <p:ext uri="{BB962C8B-B14F-4D97-AF65-F5344CB8AC3E}">
        <p14:creationId xmlns:p14="http://schemas.microsoft.com/office/powerpoint/2010/main" val="1118931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pic>
        <p:nvPicPr>
          <p:cNvPr id="12" name="Grafik 11" descr="TKOM_39L_Grillen_7475.jpg"/>
          <p:cNvPicPr>
            <a:picLocks noChangeAspect="1"/>
          </p:cNvPicPr>
          <p:nvPr userDrawn="1"/>
        </p:nvPicPr>
        <p:blipFill>
          <a:blip r:embed="rId2"/>
          <a:srcRect b="58195"/>
          <a:stretch>
            <a:fillRect/>
          </a:stretch>
        </p:blipFill>
        <p:spPr bwMode="hidden">
          <a:xfrm>
            <a:off x="323849" y="324000"/>
            <a:ext cx="10872000" cy="3032196"/>
          </a:xfrm>
          <a:prstGeom prst="rect">
            <a:avLst/>
          </a:prstGeom>
        </p:spPr>
      </p:pic>
      <p:pic>
        <p:nvPicPr>
          <p:cNvPr id="10" name="Picture 27" descr="magenta_flaeche_70"/>
          <p:cNvPicPr>
            <a:picLocks noChangeArrowheads="1"/>
          </p:cNvPicPr>
          <p:nvPr userDrawn="1"/>
        </p:nvPicPr>
        <p:blipFill>
          <a:blip r:embed="rId3" cstate="print"/>
          <a:srcRect r="11" b="-468"/>
          <a:stretch>
            <a:fillRect/>
          </a:stretch>
        </p:blipFill>
        <p:spPr bwMode="ltGray">
          <a:xfrm>
            <a:off x="323850" y="2897408"/>
            <a:ext cx="10872000" cy="458788"/>
          </a:xfrm>
          <a:prstGeom prst="rect">
            <a:avLst/>
          </a:prstGeom>
          <a:noFill/>
        </p:spPr>
      </p:pic>
      <p:sp>
        <p:nvSpPr>
          <p:cNvPr id="45058" name="Titelplatzhalter 1"/>
          <p:cNvSpPr>
            <a:spLocks noGrp="1"/>
          </p:cNvSpPr>
          <p:nvPr userDrawn="1">
            <p:ph type="ctrTitle" hasCustomPrompt="1"/>
          </p:nvPr>
        </p:nvSpPr>
        <p:spPr bwMode="blackGray">
          <a:xfrm>
            <a:off x="323850" y="3203795"/>
            <a:ext cx="10872000" cy="1980980"/>
          </a:xfrm>
          <a:solidFill>
            <a:schemeClr val="tx2"/>
          </a:solidFill>
        </p:spPr>
        <p:txBody>
          <a:bodyPr lIns="143990">
            <a:noAutofit/>
          </a:bodyPr>
          <a:lstStyle>
            <a:lvl1pPr>
              <a:defRPr sz="4000" smtClean="0">
                <a:solidFill>
                  <a:schemeClr val="bg1"/>
                </a:solidFill>
                <a:latin typeface="TeleGrotesk Headline Ultra" pitchFamily="2" charset="0"/>
              </a:defRPr>
            </a:lvl1pPr>
          </a:lstStyle>
          <a:p>
            <a:r>
              <a:rPr lang="en-US" dirty="0" err="1" smtClean="0"/>
              <a:t>TeleGrotesk</a:t>
            </a:r>
            <a:r>
              <a:rPr lang="en-US" dirty="0" smtClean="0"/>
              <a:t> Headline Ultra</a:t>
            </a:r>
            <a:br>
              <a:rPr lang="en-US" dirty="0" smtClean="0"/>
            </a:br>
            <a:r>
              <a:rPr kumimoji="0" lang="en-US" sz="40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Maximum of 2 lines, (40) 48 PT</a:t>
            </a:r>
            <a:endParaRPr lang="en-US" dirty="0" smtClean="0"/>
          </a:p>
        </p:txBody>
      </p:sp>
      <p:sp>
        <p:nvSpPr>
          <p:cNvPr id="45059" name="Textplatzhalter 2"/>
          <p:cNvSpPr>
            <a:spLocks noGrp="1"/>
          </p:cNvSpPr>
          <p:nvPr userDrawn="1">
            <p:ph type="subTitle" idx="1" hasCustomPrompt="1"/>
          </p:nvPr>
        </p:nvSpPr>
        <p:spPr bwMode="gray">
          <a:xfrm>
            <a:off x="323850" y="4536000"/>
            <a:ext cx="10869614" cy="384080"/>
          </a:xfrm>
        </p:spPr>
        <p:txBody>
          <a:bodyPr lIns="143990">
            <a:spAutoFit/>
          </a:bodyPr>
          <a:lstStyle>
            <a:lvl1pPr marL="0" marR="0" indent="0" algn="l" defTabSz="576226" rtl="0" eaLnBrk="1" fontAlgn="base" latinLnBrk="0" hangingPunct="1">
              <a:lnSpc>
                <a:spcPct val="104000"/>
              </a:lnSpc>
              <a:spcBef>
                <a:spcPts val="0"/>
              </a:spcBef>
              <a:spcAft>
                <a:spcPct val="0"/>
              </a:spcAft>
              <a:buClr>
                <a:schemeClr val="tx2"/>
              </a:buClr>
              <a:buSzTx/>
              <a:buFont typeface="Wingdings" pitchFamily="2" charset="2"/>
              <a:buNone/>
              <a:tabLst/>
              <a:defRPr sz="2400" smtClean="0">
                <a:solidFill>
                  <a:schemeClr val="bg1"/>
                </a:solidFill>
                <a:latin typeface="Tele-GroteskNor" pitchFamily="2" charset="0"/>
              </a:defRPr>
            </a:lvl1pPr>
          </a:lstStyle>
          <a:p>
            <a:r>
              <a:rPr lang="en-US" dirty="0" smtClean="0"/>
              <a:t>Sub-heading: Tele-</a:t>
            </a:r>
            <a:r>
              <a:rPr lang="en-US" dirty="0" err="1" smtClean="0"/>
              <a:t>Grotesk</a:t>
            </a:r>
            <a:r>
              <a:rPr lang="en-US" dirty="0" smtClean="0"/>
              <a:t> Normal, 24 </a:t>
            </a:r>
            <a:r>
              <a:rPr lang="en-US" dirty="0" err="1" smtClean="0"/>
              <a:t>pt</a:t>
            </a:r>
            <a:endParaRPr lang="en-US" dirty="0"/>
          </a:p>
        </p:txBody>
      </p:sp>
      <p:pic>
        <p:nvPicPr>
          <p:cNvPr id="37" name="Grafik 36" descr="TSY_Logo_3c_p.emf"/>
          <p:cNvPicPr>
            <a:picLocks noChangeAspect="1"/>
          </p:cNvPicPr>
          <p:nvPr userDrawn="1"/>
        </p:nvPicPr>
        <p:blipFill>
          <a:blip r:embed="rId4"/>
          <a:stretch>
            <a:fillRect/>
          </a:stretch>
        </p:blipFill>
        <p:spPr>
          <a:xfrm>
            <a:off x="323848" y="5671799"/>
            <a:ext cx="3388872" cy="6156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andout (2 columns)">
    <p:spTree>
      <p:nvGrpSpPr>
        <p:cNvPr id="1" name=""/>
        <p:cNvGrpSpPr/>
        <p:nvPr/>
      </p:nvGrpSpPr>
      <p:grpSpPr>
        <a:xfrm>
          <a:off x="0" y="0"/>
          <a:ext cx="0" cy="0"/>
          <a:chOff x="0" y="0"/>
          <a:chExt cx="0" cy="0"/>
        </a:xfrm>
      </p:grpSpPr>
      <p:sp>
        <p:nvSpPr>
          <p:cNvPr id="14" name="Rechteck 21"/>
          <p:cNvSpPr/>
          <p:nvPr userDrawn="1"/>
        </p:nvSpPr>
        <p:spPr bwMode="gray">
          <a:xfrm>
            <a:off x="0" y="5632453"/>
            <a:ext cx="10901363" cy="7191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323999" y="252000"/>
            <a:ext cx="10872000" cy="504000"/>
          </a:xfrm>
        </p:spPr>
        <p:txBody>
          <a:bodyPr/>
          <a:lstStyle>
            <a:lvl1pPr marL="0" indent="0">
              <a:defRPr sz="24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323849" y="1476374"/>
            <a:ext cx="5364787" cy="4356101"/>
          </a:xfrm>
        </p:spPr>
        <p:txBody>
          <a:bodyPr/>
          <a:lstStyle>
            <a:lvl1pPr>
              <a:defRPr sz="1400"/>
            </a:lvl1pPr>
            <a:lvl2pPr>
              <a:defRPr sz="1400"/>
            </a:lvl2pPr>
            <a:lvl3pPr marL="180975" indent="-180000">
              <a:buClr>
                <a:schemeClr val="tx1"/>
              </a:buClr>
              <a:defRPr sz="1400"/>
            </a:lvl3pPr>
            <a:lvl4pPr marL="360000" indent="-180000">
              <a:buClr>
                <a:schemeClr val="tx1"/>
              </a:buClr>
              <a:defRPr sz="140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Quotations/lead-in</a:t>
            </a:r>
          </a:p>
        </p:txBody>
      </p:sp>
      <p:sp>
        <p:nvSpPr>
          <p:cNvPr id="8" name="Inhaltsplatzhalter 3"/>
          <p:cNvSpPr>
            <a:spLocks noGrp="1"/>
          </p:cNvSpPr>
          <p:nvPr>
            <p:ph sz="half" idx="13" hasCustomPrompt="1"/>
          </p:nvPr>
        </p:nvSpPr>
        <p:spPr>
          <a:xfrm>
            <a:off x="5831850" y="1476374"/>
            <a:ext cx="5364787" cy="4356101"/>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dirty="0" smtClean="0"/>
              <a:t>Click to edit text</a:t>
            </a:r>
          </a:p>
          <a:p>
            <a:pPr lvl="1"/>
            <a:r>
              <a:rPr lang="en-US" dirty="0" smtClean="0"/>
              <a:t>Second level</a:t>
            </a:r>
          </a:p>
          <a:p>
            <a:pPr lvl="2">
              <a:buClr>
                <a:schemeClr val="tx1"/>
              </a:buClr>
            </a:pPr>
            <a:r>
              <a:rPr lang="en-US" dirty="0" smtClean="0"/>
              <a:t>Third level</a:t>
            </a:r>
          </a:p>
          <a:p>
            <a:pPr lvl="3">
              <a:buClr>
                <a:schemeClr val="tx1"/>
              </a:buClr>
            </a:pPr>
            <a:r>
              <a:rPr lang="en-US" dirty="0" smtClean="0"/>
              <a:t>Fourth level</a:t>
            </a:r>
          </a:p>
          <a:p>
            <a:pPr marL="0" lvl="4" indent="0">
              <a:spcBef>
                <a:spcPts val="800"/>
              </a:spcBef>
              <a:spcAft>
                <a:spcPts val="800"/>
              </a:spcAft>
              <a:buClr>
                <a:schemeClr val="tx1"/>
              </a:buClr>
              <a:buNone/>
            </a:pPr>
            <a:r>
              <a:rPr lang="en-US" dirty="0" smtClean="0"/>
              <a:t>Quotations/lead-in</a:t>
            </a:r>
            <a:endParaRPr lang="en-US" dirty="0"/>
          </a:p>
        </p:txBody>
      </p:sp>
      <p:sp>
        <p:nvSpPr>
          <p:cNvPr id="6" name="Datumsplatzhalter 5"/>
          <p:cNvSpPr>
            <a:spLocks noGrp="1"/>
          </p:cNvSpPr>
          <p:nvPr>
            <p:ph type="dt" sz="half" idx="14"/>
          </p:nvPr>
        </p:nvSpPr>
        <p:spPr/>
        <p:txBody>
          <a:bodyPr/>
          <a:lstStyle/>
          <a:p>
            <a:pPr fontAlgn="base">
              <a:spcAft>
                <a:spcPct val="0"/>
              </a:spcAft>
            </a:pPr>
            <a:r>
              <a:rPr lang="en-US" noProof="0" dirty="0" err="1" smtClean="0"/>
              <a:t>dd.mm.yyyy</a:t>
            </a:r>
            <a:endParaRPr lang="en-US" noProof="0" dirty="0"/>
          </a:p>
        </p:txBody>
      </p:sp>
      <p:sp>
        <p:nvSpPr>
          <p:cNvPr id="7" name="Foliennummernplatzhalter 6"/>
          <p:cNvSpPr>
            <a:spLocks noGrp="1"/>
          </p:cNvSpPr>
          <p:nvPr>
            <p:ph type="sldNum" sz="quarter" idx="15"/>
          </p:nvPr>
        </p:nvSpPr>
        <p:spPr/>
        <p:txBody>
          <a:bodyPr/>
          <a:lstStyle/>
          <a:p>
            <a:pPr fontAlgn="base">
              <a:spcAft>
                <a:spcPct val="0"/>
              </a:spcAft>
            </a:pPr>
            <a:fld id="{31ED8236-F742-4994-B025-3D78EEC04644}" type="slidenum">
              <a:rPr lang="en-US" noProof="0" smtClean="0"/>
              <a:pPr fontAlgn="base">
                <a:spcAft>
                  <a:spcPct val="0"/>
                </a:spcAft>
              </a:pPr>
              <a:t>‹#›</a:t>
            </a:fld>
            <a:endParaRPr lang="en-US" noProof="0" dirty="0"/>
          </a:p>
        </p:txBody>
      </p:sp>
      <p:sp>
        <p:nvSpPr>
          <p:cNvPr id="9" name="Fußzeilenplatzhalter 8"/>
          <p:cNvSpPr>
            <a:spLocks noGrp="1"/>
          </p:cNvSpPr>
          <p:nvPr>
            <p:ph type="ftr" sz="quarter" idx="16"/>
          </p:nvPr>
        </p:nvSpPr>
        <p:spPr/>
        <p:txBody>
          <a:bodyPr/>
          <a:lstStyle/>
          <a:p>
            <a:r>
              <a:rPr lang="en-US" noProof="0" dirty="0" smtClean="0"/>
              <a:t>– Strictly confidential, Confidential, Internal –     Author/Presentation Topic</a:t>
            </a:r>
            <a:endParaRPr lang="en-US" noProof="0" dirty="0"/>
          </a:p>
        </p:txBody>
      </p:sp>
    </p:spTree>
    <p:extLst>
      <p:ext uri="{BB962C8B-B14F-4D97-AF65-F5344CB8AC3E}">
        <p14:creationId xmlns:p14="http://schemas.microsoft.com/office/powerpoint/2010/main" val="3267739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andout (3 columns)">
    <p:spTree>
      <p:nvGrpSpPr>
        <p:cNvPr id="1" name=""/>
        <p:cNvGrpSpPr/>
        <p:nvPr/>
      </p:nvGrpSpPr>
      <p:grpSpPr>
        <a:xfrm>
          <a:off x="0" y="0"/>
          <a:ext cx="0" cy="0"/>
          <a:chOff x="0" y="0"/>
          <a:chExt cx="0" cy="0"/>
        </a:xfrm>
      </p:grpSpPr>
      <p:sp>
        <p:nvSpPr>
          <p:cNvPr id="14" name="Rechteck 21"/>
          <p:cNvSpPr/>
          <p:nvPr userDrawn="1"/>
        </p:nvSpPr>
        <p:spPr bwMode="gray">
          <a:xfrm>
            <a:off x="0" y="5632453"/>
            <a:ext cx="10901363" cy="7191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323999" y="252000"/>
            <a:ext cx="10872000" cy="504000"/>
          </a:xfrm>
        </p:spPr>
        <p:txBody>
          <a:bodyPr/>
          <a:lstStyle>
            <a:lvl1pPr marL="0" indent="0">
              <a:defRPr sz="24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323850" y="1476374"/>
            <a:ext cx="3528000" cy="4356101"/>
          </a:xfrm>
        </p:spPr>
        <p:txBody>
          <a:bodyPr/>
          <a:lstStyle>
            <a:lvl1pPr>
              <a:defRPr sz="1400"/>
            </a:lvl1pPr>
            <a:lvl2pPr>
              <a:defRPr sz="1400"/>
            </a:lvl2pPr>
            <a:lvl3pPr marL="180975" indent="-180000">
              <a:buClr>
                <a:schemeClr val="tx1"/>
              </a:buClr>
              <a:defRPr sz="1400"/>
            </a:lvl3pPr>
            <a:lvl4pPr marL="360000" indent="-180000">
              <a:buClr>
                <a:schemeClr val="tx1"/>
              </a:buClr>
              <a:defRPr sz="140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Quotations/lead-in</a:t>
            </a:r>
          </a:p>
        </p:txBody>
      </p:sp>
      <p:sp>
        <p:nvSpPr>
          <p:cNvPr id="4" name="Inhaltsplatzhalter 3"/>
          <p:cNvSpPr>
            <a:spLocks noGrp="1"/>
          </p:cNvSpPr>
          <p:nvPr>
            <p:ph sz="half" idx="2" hasCustomPrompt="1"/>
          </p:nvPr>
        </p:nvSpPr>
        <p:spPr>
          <a:xfrm>
            <a:off x="3996162" y="1476374"/>
            <a:ext cx="3528000" cy="4356101"/>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dirty="0" smtClean="0"/>
              <a:t>Click to edit text</a:t>
            </a:r>
          </a:p>
          <a:p>
            <a:pPr lvl="1"/>
            <a:r>
              <a:rPr lang="en-US" dirty="0" smtClean="0"/>
              <a:t>Second level</a:t>
            </a:r>
          </a:p>
          <a:p>
            <a:pPr lvl="2">
              <a:buClr>
                <a:schemeClr val="tx1"/>
              </a:buClr>
            </a:pPr>
            <a:r>
              <a:rPr lang="en-US" dirty="0" smtClean="0"/>
              <a:t>Third level</a:t>
            </a:r>
          </a:p>
          <a:p>
            <a:pPr lvl="3">
              <a:buClr>
                <a:schemeClr val="tx1"/>
              </a:buClr>
            </a:pPr>
            <a:r>
              <a:rPr lang="en-US" dirty="0" smtClean="0"/>
              <a:t>Fourth level</a:t>
            </a:r>
          </a:p>
          <a:p>
            <a:pPr marL="0" lvl="4" indent="0">
              <a:spcBef>
                <a:spcPts val="800"/>
              </a:spcBef>
              <a:spcAft>
                <a:spcPts val="800"/>
              </a:spcAft>
              <a:buClr>
                <a:schemeClr val="tx1"/>
              </a:buClr>
              <a:buNone/>
            </a:pPr>
            <a:r>
              <a:rPr lang="en-US" dirty="0" smtClean="0"/>
              <a:t>Quotations/lead-in</a:t>
            </a:r>
            <a:endParaRPr lang="en-US" dirty="0"/>
          </a:p>
        </p:txBody>
      </p:sp>
      <p:sp>
        <p:nvSpPr>
          <p:cNvPr id="8" name="Inhaltsplatzhalter 3"/>
          <p:cNvSpPr>
            <a:spLocks noGrp="1"/>
          </p:cNvSpPr>
          <p:nvPr>
            <p:ph sz="half" idx="13" hasCustomPrompt="1"/>
          </p:nvPr>
        </p:nvSpPr>
        <p:spPr>
          <a:xfrm>
            <a:off x="7668475" y="1476374"/>
            <a:ext cx="3528000" cy="4356101"/>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dirty="0" smtClean="0"/>
              <a:t>Click to edit text</a:t>
            </a:r>
          </a:p>
          <a:p>
            <a:pPr lvl="1"/>
            <a:r>
              <a:rPr lang="en-US" dirty="0" smtClean="0"/>
              <a:t>Second level</a:t>
            </a:r>
          </a:p>
          <a:p>
            <a:pPr lvl="2">
              <a:buClr>
                <a:schemeClr val="tx1"/>
              </a:buClr>
            </a:pPr>
            <a:r>
              <a:rPr lang="en-US" dirty="0" smtClean="0"/>
              <a:t>Third level</a:t>
            </a:r>
          </a:p>
          <a:p>
            <a:pPr lvl="3">
              <a:buClr>
                <a:schemeClr val="tx1"/>
              </a:buClr>
            </a:pPr>
            <a:r>
              <a:rPr lang="en-US" dirty="0" smtClean="0"/>
              <a:t>Fourth level</a:t>
            </a:r>
          </a:p>
          <a:p>
            <a:pPr marL="0" lvl="4" indent="0">
              <a:spcBef>
                <a:spcPts val="800"/>
              </a:spcBef>
              <a:spcAft>
                <a:spcPts val="800"/>
              </a:spcAft>
              <a:buClr>
                <a:schemeClr val="tx1"/>
              </a:buClr>
              <a:buNone/>
            </a:pPr>
            <a:r>
              <a:rPr lang="en-US" dirty="0" smtClean="0"/>
              <a:t>Quotations/lead-in</a:t>
            </a:r>
            <a:endParaRPr lang="en-US" dirty="0"/>
          </a:p>
        </p:txBody>
      </p:sp>
      <p:sp>
        <p:nvSpPr>
          <p:cNvPr id="7" name="Datumsplatzhalter 6"/>
          <p:cNvSpPr>
            <a:spLocks noGrp="1"/>
          </p:cNvSpPr>
          <p:nvPr>
            <p:ph type="dt" sz="half" idx="14"/>
          </p:nvPr>
        </p:nvSpPr>
        <p:spPr/>
        <p:txBody>
          <a:bodyPr/>
          <a:lstStyle/>
          <a:p>
            <a:pPr fontAlgn="base">
              <a:spcAft>
                <a:spcPct val="0"/>
              </a:spcAft>
            </a:pPr>
            <a:r>
              <a:rPr lang="en-US" noProof="0" dirty="0" err="1" smtClean="0"/>
              <a:t>dd.mm.yyyy</a:t>
            </a:r>
            <a:endParaRPr lang="en-US" noProof="0" dirty="0"/>
          </a:p>
        </p:txBody>
      </p:sp>
      <p:sp>
        <p:nvSpPr>
          <p:cNvPr id="9" name="Foliennummernplatzhalter 8"/>
          <p:cNvSpPr>
            <a:spLocks noGrp="1"/>
          </p:cNvSpPr>
          <p:nvPr>
            <p:ph type="sldNum" sz="quarter" idx="15"/>
          </p:nvPr>
        </p:nvSpPr>
        <p:spPr/>
        <p:txBody>
          <a:bodyPr/>
          <a:lstStyle/>
          <a:p>
            <a:pPr fontAlgn="base">
              <a:spcAft>
                <a:spcPct val="0"/>
              </a:spcAft>
            </a:pPr>
            <a:fld id="{31ED8236-F742-4994-B025-3D78EEC04644}" type="slidenum">
              <a:rPr lang="en-US" noProof="0" smtClean="0"/>
              <a:pPr fontAlgn="base">
                <a:spcAft>
                  <a:spcPct val="0"/>
                </a:spcAft>
              </a:pPr>
              <a:t>‹#›</a:t>
            </a:fld>
            <a:endParaRPr lang="en-US" noProof="0" dirty="0"/>
          </a:p>
        </p:txBody>
      </p:sp>
      <p:sp>
        <p:nvSpPr>
          <p:cNvPr id="10" name="Fußzeilenplatzhalter 9"/>
          <p:cNvSpPr>
            <a:spLocks noGrp="1"/>
          </p:cNvSpPr>
          <p:nvPr>
            <p:ph type="ftr" sz="quarter" idx="16"/>
          </p:nvPr>
        </p:nvSpPr>
        <p:spPr/>
        <p:txBody>
          <a:bodyPr/>
          <a:lstStyle/>
          <a:p>
            <a:r>
              <a:rPr lang="en-US" noProof="0" dirty="0" smtClean="0"/>
              <a:t>– Strictly confidential, Confidential, Internal –     Author/Presentation Topic</a:t>
            </a:r>
            <a:endParaRPr lang="en-US" noProof="0" dirty="0"/>
          </a:p>
        </p:txBody>
      </p:sp>
    </p:spTree>
    <p:extLst>
      <p:ext uri="{BB962C8B-B14F-4D97-AF65-F5344CB8AC3E}">
        <p14:creationId xmlns:p14="http://schemas.microsoft.com/office/powerpoint/2010/main" val="799627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Handout (4 columns)">
    <p:spTree>
      <p:nvGrpSpPr>
        <p:cNvPr id="1" name=""/>
        <p:cNvGrpSpPr/>
        <p:nvPr/>
      </p:nvGrpSpPr>
      <p:grpSpPr>
        <a:xfrm>
          <a:off x="0" y="0"/>
          <a:ext cx="0" cy="0"/>
          <a:chOff x="0" y="0"/>
          <a:chExt cx="0" cy="0"/>
        </a:xfrm>
      </p:grpSpPr>
      <p:sp>
        <p:nvSpPr>
          <p:cNvPr id="14" name="Rechteck 21"/>
          <p:cNvSpPr/>
          <p:nvPr userDrawn="1"/>
        </p:nvSpPr>
        <p:spPr bwMode="gray">
          <a:xfrm>
            <a:off x="0" y="5632453"/>
            <a:ext cx="10901363" cy="7191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323999" y="252000"/>
            <a:ext cx="10872000" cy="504000"/>
          </a:xfrm>
        </p:spPr>
        <p:txBody>
          <a:bodyPr/>
          <a:lstStyle>
            <a:lvl1pPr marL="0" indent="0">
              <a:defRPr sz="24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323850" y="1476374"/>
            <a:ext cx="2610000" cy="4356101"/>
          </a:xfrm>
        </p:spPr>
        <p:txBody>
          <a:bodyPr/>
          <a:lstStyle>
            <a:lvl1pPr>
              <a:defRPr sz="1400"/>
            </a:lvl1pPr>
            <a:lvl2pPr>
              <a:defRPr sz="1400"/>
            </a:lvl2pPr>
            <a:lvl3pPr marL="180975" indent="-180000">
              <a:buClr>
                <a:schemeClr val="tx1"/>
              </a:buClr>
              <a:defRPr sz="1400"/>
            </a:lvl3pPr>
            <a:lvl4pPr marL="360000" indent="-180000">
              <a:buClr>
                <a:schemeClr val="tx1"/>
              </a:buClr>
              <a:defRPr sz="140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Quotations/lead-in</a:t>
            </a:r>
          </a:p>
        </p:txBody>
      </p:sp>
      <p:sp>
        <p:nvSpPr>
          <p:cNvPr id="4" name="Inhaltsplatzhalter 3"/>
          <p:cNvSpPr>
            <a:spLocks noGrp="1"/>
          </p:cNvSpPr>
          <p:nvPr>
            <p:ph sz="half" idx="2" hasCustomPrompt="1"/>
          </p:nvPr>
        </p:nvSpPr>
        <p:spPr>
          <a:xfrm>
            <a:off x="3078014" y="1476374"/>
            <a:ext cx="2610000" cy="4356101"/>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dirty="0" smtClean="0"/>
              <a:t>Click to edit text</a:t>
            </a:r>
          </a:p>
          <a:p>
            <a:pPr lvl="1"/>
            <a:r>
              <a:rPr lang="en-US" dirty="0" smtClean="0"/>
              <a:t>Second level</a:t>
            </a:r>
          </a:p>
          <a:p>
            <a:pPr lvl="2">
              <a:buClr>
                <a:schemeClr val="tx1"/>
              </a:buClr>
            </a:pPr>
            <a:r>
              <a:rPr lang="en-US" dirty="0" smtClean="0"/>
              <a:t>Third level</a:t>
            </a:r>
          </a:p>
          <a:p>
            <a:pPr lvl="3">
              <a:buClr>
                <a:schemeClr val="tx1"/>
              </a:buClr>
            </a:pPr>
            <a:r>
              <a:rPr lang="en-US" dirty="0" smtClean="0"/>
              <a:t>Fourth level</a:t>
            </a:r>
          </a:p>
          <a:p>
            <a:pPr marL="0" lvl="4" indent="0">
              <a:spcBef>
                <a:spcPts val="800"/>
              </a:spcBef>
              <a:spcAft>
                <a:spcPts val="800"/>
              </a:spcAft>
              <a:buClr>
                <a:schemeClr val="tx1"/>
              </a:buClr>
              <a:buNone/>
            </a:pPr>
            <a:r>
              <a:rPr lang="en-US" dirty="0" smtClean="0"/>
              <a:t>Quotations/lead-in</a:t>
            </a:r>
            <a:endParaRPr lang="en-US" dirty="0"/>
          </a:p>
        </p:txBody>
      </p:sp>
      <p:sp>
        <p:nvSpPr>
          <p:cNvPr id="8" name="Inhaltsplatzhalter 3"/>
          <p:cNvSpPr>
            <a:spLocks noGrp="1"/>
          </p:cNvSpPr>
          <p:nvPr>
            <p:ph sz="half" idx="13" hasCustomPrompt="1"/>
          </p:nvPr>
        </p:nvSpPr>
        <p:spPr>
          <a:xfrm>
            <a:off x="5831851" y="1476374"/>
            <a:ext cx="2610000" cy="4356101"/>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dirty="0" smtClean="0"/>
              <a:t>Click to edit text</a:t>
            </a:r>
          </a:p>
          <a:p>
            <a:pPr lvl="1"/>
            <a:r>
              <a:rPr lang="en-US" dirty="0" smtClean="0"/>
              <a:t>Second level</a:t>
            </a:r>
          </a:p>
          <a:p>
            <a:pPr lvl="2">
              <a:buClr>
                <a:schemeClr val="tx1"/>
              </a:buClr>
            </a:pPr>
            <a:r>
              <a:rPr lang="en-US" dirty="0" smtClean="0"/>
              <a:t>Third level</a:t>
            </a:r>
          </a:p>
          <a:p>
            <a:pPr lvl="3">
              <a:buClr>
                <a:schemeClr val="tx1"/>
              </a:buClr>
            </a:pPr>
            <a:r>
              <a:rPr lang="en-US" dirty="0" smtClean="0"/>
              <a:t>Fourth level</a:t>
            </a:r>
          </a:p>
          <a:p>
            <a:pPr marL="0" lvl="4" indent="0">
              <a:spcBef>
                <a:spcPts val="800"/>
              </a:spcBef>
              <a:spcAft>
                <a:spcPts val="800"/>
              </a:spcAft>
              <a:buClr>
                <a:schemeClr val="tx1"/>
              </a:buClr>
              <a:buNone/>
            </a:pPr>
            <a:r>
              <a:rPr lang="en-US" dirty="0" smtClean="0"/>
              <a:t>Quotations/lead-in</a:t>
            </a:r>
            <a:endParaRPr lang="en-US" dirty="0"/>
          </a:p>
        </p:txBody>
      </p:sp>
      <p:sp>
        <p:nvSpPr>
          <p:cNvPr id="10" name="Inhaltsplatzhalter 3"/>
          <p:cNvSpPr>
            <a:spLocks noGrp="1"/>
          </p:cNvSpPr>
          <p:nvPr>
            <p:ph sz="half" idx="14" hasCustomPrompt="1"/>
          </p:nvPr>
        </p:nvSpPr>
        <p:spPr>
          <a:xfrm>
            <a:off x="8586638" y="1476374"/>
            <a:ext cx="2610000" cy="4356101"/>
          </a:xfrm>
          <a:noFill/>
          <a:ln w="9525">
            <a:noFill/>
            <a:miter lim="800000"/>
            <a:headEnd/>
            <a:tailEnd/>
          </a:ln>
        </p:spPr>
        <p:txBody>
          <a:bodyPr vert="horz" wrap="square" lIns="0" tIns="0" rIns="0" bIns="0" numCol="1" anchor="t" anchorCtr="0" compatLnSpc="1">
            <a:prstTxWarp prst="textNoShape">
              <a:avLst/>
            </a:prstTxWarp>
          </a:bodyPr>
          <a:lstStyle>
            <a:lvl1pPr>
              <a:defRPr lang="de-DE" sz="1400" baseline="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dirty="0" smtClean="0"/>
              <a:t>Click to edit text</a:t>
            </a:r>
          </a:p>
          <a:p>
            <a:pPr lvl="1"/>
            <a:r>
              <a:rPr lang="en-US" dirty="0" smtClean="0"/>
              <a:t>Second level</a:t>
            </a:r>
          </a:p>
          <a:p>
            <a:pPr lvl="2">
              <a:buClr>
                <a:schemeClr val="tx1"/>
              </a:buClr>
            </a:pPr>
            <a:r>
              <a:rPr lang="en-US" dirty="0" smtClean="0"/>
              <a:t>Third level</a:t>
            </a:r>
          </a:p>
          <a:p>
            <a:pPr lvl="3">
              <a:buClr>
                <a:schemeClr val="tx1"/>
              </a:buClr>
            </a:pPr>
            <a:r>
              <a:rPr lang="en-US" dirty="0" smtClean="0"/>
              <a:t>Fourth level</a:t>
            </a:r>
          </a:p>
          <a:p>
            <a:pPr marL="0" lvl="4" indent="0">
              <a:spcBef>
                <a:spcPts val="800"/>
              </a:spcBef>
              <a:spcAft>
                <a:spcPts val="800"/>
              </a:spcAft>
              <a:buClr>
                <a:schemeClr val="tx1"/>
              </a:buClr>
              <a:buNone/>
            </a:pPr>
            <a:r>
              <a:rPr lang="en-US" dirty="0" smtClean="0"/>
              <a:t>Quotations/lead-in</a:t>
            </a:r>
            <a:endParaRPr lang="en-US" dirty="0"/>
          </a:p>
        </p:txBody>
      </p:sp>
      <p:sp>
        <p:nvSpPr>
          <p:cNvPr id="9" name="Datumsplatzhalter 8"/>
          <p:cNvSpPr>
            <a:spLocks noGrp="1"/>
          </p:cNvSpPr>
          <p:nvPr>
            <p:ph type="dt" sz="half" idx="15"/>
          </p:nvPr>
        </p:nvSpPr>
        <p:spPr/>
        <p:txBody>
          <a:bodyPr/>
          <a:lstStyle/>
          <a:p>
            <a:pPr fontAlgn="base">
              <a:spcAft>
                <a:spcPct val="0"/>
              </a:spcAft>
            </a:pPr>
            <a:r>
              <a:rPr lang="en-US" noProof="0" dirty="0" err="1" smtClean="0"/>
              <a:t>dd.mm.yyyy</a:t>
            </a:r>
            <a:endParaRPr lang="en-US" noProof="0" dirty="0"/>
          </a:p>
        </p:txBody>
      </p:sp>
      <p:sp>
        <p:nvSpPr>
          <p:cNvPr id="11" name="Foliennummernplatzhalter 10"/>
          <p:cNvSpPr>
            <a:spLocks noGrp="1"/>
          </p:cNvSpPr>
          <p:nvPr>
            <p:ph type="sldNum" sz="quarter" idx="16"/>
          </p:nvPr>
        </p:nvSpPr>
        <p:spPr/>
        <p:txBody>
          <a:bodyPr/>
          <a:lstStyle/>
          <a:p>
            <a:pPr fontAlgn="base">
              <a:spcAft>
                <a:spcPct val="0"/>
              </a:spcAft>
            </a:pPr>
            <a:fld id="{31ED8236-F742-4994-B025-3D78EEC04644}" type="slidenum">
              <a:rPr lang="en-US" noProof="0" smtClean="0"/>
              <a:pPr fontAlgn="base">
                <a:spcAft>
                  <a:spcPct val="0"/>
                </a:spcAft>
              </a:pPr>
              <a:t>‹#›</a:t>
            </a:fld>
            <a:endParaRPr lang="en-US" noProof="0" dirty="0"/>
          </a:p>
        </p:txBody>
      </p:sp>
      <p:sp>
        <p:nvSpPr>
          <p:cNvPr id="12" name="Fußzeilenplatzhalter 11"/>
          <p:cNvSpPr>
            <a:spLocks noGrp="1"/>
          </p:cNvSpPr>
          <p:nvPr>
            <p:ph type="ftr" sz="quarter" idx="17"/>
          </p:nvPr>
        </p:nvSpPr>
        <p:spPr/>
        <p:txBody>
          <a:bodyPr/>
          <a:lstStyle/>
          <a:p>
            <a:r>
              <a:rPr lang="en-US" noProof="0" dirty="0" smtClean="0"/>
              <a:t>– Strictly confidential, Confidential, Internal –     Author/Presentation Topic</a:t>
            </a:r>
            <a:endParaRPr lang="en-US" noProof="0" dirty="0"/>
          </a:p>
        </p:txBody>
      </p:sp>
    </p:spTree>
    <p:extLst>
      <p:ext uri="{BB962C8B-B14F-4D97-AF65-F5344CB8AC3E}">
        <p14:creationId xmlns:p14="http://schemas.microsoft.com/office/powerpoint/2010/main" val="36978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Slide vertical lef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4" name="think-cell Folie" r:id="rId5" imgW="360" imgH="360" progId="TCLayout.ActiveDocument.1">
                  <p:embed/>
                </p:oleObj>
              </mc:Choice>
              <mc:Fallback>
                <p:oleObj name="think-cell Folie" r:id="rId5" imgW="360" imgH="360" progId="TCLayout.ActiveDocument.1">
                  <p:embed/>
                  <p:pic>
                    <p:nvPicPr>
                      <p:cNvPr id="5" name="Objek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userDrawn="1"/>
        </p:nvSpPr>
        <p:spPr bwMode="white">
          <a:xfrm>
            <a:off x="0" y="0"/>
            <a:ext cx="5761038" cy="6480175"/>
          </a:xfrm>
          <a:prstGeom prst="rect">
            <a:avLst/>
          </a:prstGeom>
          <a:solidFill>
            <a:schemeClr val="tx2"/>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en-US" sz="1800" dirty="0" smtClean="0">
              <a:cs typeface="Arial" charset="0"/>
            </a:endParaRPr>
          </a:p>
        </p:txBody>
      </p:sp>
      <p:sp>
        <p:nvSpPr>
          <p:cNvPr id="6" name="Titelplatzhalter 1"/>
          <p:cNvSpPr>
            <a:spLocks noGrp="1"/>
          </p:cNvSpPr>
          <p:nvPr>
            <p:ph type="ctrTitle" hasCustomPrompt="1"/>
          </p:nvPr>
        </p:nvSpPr>
        <p:spPr bwMode="black">
          <a:xfrm>
            <a:off x="323851" y="323851"/>
            <a:ext cx="5113337" cy="2465070"/>
          </a:xfrm>
          <a:noFill/>
        </p:spPr>
        <p:txBody>
          <a:bodyPr wrap="square" lIns="0" tIns="0">
            <a:noAutofit/>
          </a:bodyPr>
          <a:lstStyle>
            <a:lvl1pPr>
              <a:defRPr sz="6000" smtClean="0">
                <a:solidFill>
                  <a:schemeClr val="bg1"/>
                </a:solidFill>
                <a:latin typeface="TeleGrotesk Headline Ultra" pitchFamily="2" charset="0"/>
              </a:defRPr>
            </a:lvl1pPr>
          </a:lstStyle>
          <a:p>
            <a:r>
              <a:rPr lang="en-US" dirty="0" smtClean="0"/>
              <a:t>Headline Ultra </a:t>
            </a:r>
            <a:br>
              <a:rPr lang="en-US" dirty="0" smtClean="0"/>
            </a:br>
            <a:r>
              <a:rPr lang="en-US" dirty="0" smtClean="0"/>
              <a:t>(60) 75 90 PT</a:t>
            </a:r>
          </a:p>
        </p:txBody>
      </p:sp>
      <p:sp>
        <p:nvSpPr>
          <p:cNvPr id="3" name="Textplatzhalter 2"/>
          <p:cNvSpPr>
            <a:spLocks noGrp="1"/>
          </p:cNvSpPr>
          <p:nvPr>
            <p:ph type="body" sz="quarter" idx="11" hasCustomPrompt="1"/>
          </p:nvPr>
        </p:nvSpPr>
        <p:spPr bwMode="black">
          <a:xfrm>
            <a:off x="323850" y="3240088"/>
            <a:ext cx="5113338" cy="1008062"/>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en-US" noProof="0" dirty="0" smtClean="0"/>
              <a:t>Sub-heading </a:t>
            </a:r>
            <a:r>
              <a:rPr lang="en-US" dirty="0" smtClean="0"/>
              <a:t>Tele-</a:t>
            </a:r>
            <a:r>
              <a:rPr lang="en-US" dirty="0" err="1" smtClean="0"/>
              <a:t>GroteskFet</a:t>
            </a:r>
            <a:r>
              <a:rPr lang="en-US" dirty="0" smtClean="0"/>
              <a:t> 18 </a:t>
            </a:r>
            <a:r>
              <a:rPr lang="en-US" dirty="0" err="1" smtClean="0"/>
              <a:t>pt</a:t>
            </a:r>
            <a:endParaRPr lang="en-US" dirty="0" smtClean="0"/>
          </a:p>
        </p:txBody>
      </p:sp>
      <p:grpSp>
        <p:nvGrpSpPr>
          <p:cNvPr id="7" name="Gruppieren 6"/>
          <p:cNvGrpSpPr/>
          <p:nvPr userDrawn="1"/>
        </p:nvGrpSpPr>
        <p:grpSpPr>
          <a:xfrm>
            <a:off x="323850" y="5508625"/>
            <a:ext cx="4518026" cy="820738"/>
            <a:chOff x="323850" y="5508625"/>
            <a:chExt cx="4518026" cy="820738"/>
          </a:xfrm>
          <a:solidFill>
            <a:schemeClr val="bg1"/>
          </a:solidFill>
        </p:grpSpPr>
        <p:sp>
          <p:nvSpPr>
            <p:cNvPr id="8" name="Freeform 5"/>
            <p:cNvSpPr>
              <a:spLocks/>
            </p:cNvSpPr>
            <p:nvPr userDrawn="1"/>
          </p:nvSpPr>
          <p:spPr bwMode="auto">
            <a:xfrm>
              <a:off x="323850" y="5807075"/>
              <a:ext cx="131763" cy="133350"/>
            </a:xfrm>
            <a:custGeom>
              <a:avLst/>
              <a:gdLst>
                <a:gd name="T0" fmla="*/ 0 w 83"/>
                <a:gd name="T1" fmla="*/ 84 h 84"/>
                <a:gd name="T2" fmla="*/ 0 w 83"/>
                <a:gd name="T3" fmla="*/ 0 h 84"/>
                <a:gd name="T4" fmla="*/ 40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0"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p:cNvSpPr>
              <a:spLocks/>
            </p:cNvSpPr>
            <p:nvPr userDrawn="1"/>
          </p:nvSpPr>
          <p:spPr bwMode="auto">
            <a:xfrm>
              <a:off x="725488" y="5807075"/>
              <a:ext cx="131763" cy="133350"/>
            </a:xfrm>
            <a:custGeom>
              <a:avLst/>
              <a:gdLst>
                <a:gd name="T0" fmla="*/ 0 w 83"/>
                <a:gd name="T1" fmla="*/ 84 h 84"/>
                <a:gd name="T2" fmla="*/ 0 w 83"/>
                <a:gd name="T3" fmla="*/ 0 h 84"/>
                <a:gd name="T4" fmla="*/ 45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5"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p:cNvSpPr>
              <a:spLocks/>
            </p:cNvSpPr>
            <p:nvPr userDrawn="1"/>
          </p:nvSpPr>
          <p:spPr bwMode="auto">
            <a:xfrm>
              <a:off x="1120775" y="5807075"/>
              <a:ext cx="131763" cy="133350"/>
            </a:xfrm>
            <a:custGeom>
              <a:avLst/>
              <a:gdLst>
                <a:gd name="T0" fmla="*/ 0 w 83"/>
                <a:gd name="T1" fmla="*/ 84 h 84"/>
                <a:gd name="T2" fmla="*/ 0 w 83"/>
                <a:gd name="T3" fmla="*/ 0 h 84"/>
                <a:gd name="T4" fmla="*/ 42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2"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p:cNvSpPr>
              <a:spLocks/>
            </p:cNvSpPr>
            <p:nvPr userDrawn="1"/>
          </p:nvSpPr>
          <p:spPr bwMode="auto">
            <a:xfrm>
              <a:off x="1514475" y="5807075"/>
              <a:ext cx="133350" cy="133350"/>
            </a:xfrm>
            <a:custGeom>
              <a:avLst/>
              <a:gdLst>
                <a:gd name="T0" fmla="*/ 0 w 84"/>
                <a:gd name="T1" fmla="*/ 84 h 84"/>
                <a:gd name="T2" fmla="*/ 0 w 84"/>
                <a:gd name="T3" fmla="*/ 0 h 84"/>
                <a:gd name="T4" fmla="*/ 39 w 84"/>
                <a:gd name="T5" fmla="*/ 0 h 84"/>
                <a:gd name="T6" fmla="*/ 84 w 84"/>
                <a:gd name="T7" fmla="*/ 0 h 84"/>
                <a:gd name="T8" fmla="*/ 84 w 84"/>
                <a:gd name="T9" fmla="*/ 84 h 84"/>
                <a:gd name="T10" fmla="*/ 0 w 84"/>
                <a:gd name="T11" fmla="*/ 84 h 84"/>
              </a:gdLst>
              <a:ahLst/>
              <a:cxnLst>
                <a:cxn ang="0">
                  <a:pos x="T0" y="T1"/>
                </a:cxn>
                <a:cxn ang="0">
                  <a:pos x="T2" y="T3"/>
                </a:cxn>
                <a:cxn ang="0">
                  <a:pos x="T4" y="T5"/>
                </a:cxn>
                <a:cxn ang="0">
                  <a:pos x="T6" y="T7"/>
                </a:cxn>
                <a:cxn ang="0">
                  <a:pos x="T8" y="T9"/>
                </a:cxn>
                <a:cxn ang="0">
                  <a:pos x="T10" y="T11"/>
                </a:cxn>
              </a:cxnLst>
              <a:rect l="0" t="0" r="r" b="b"/>
              <a:pathLst>
                <a:path w="84" h="84">
                  <a:moveTo>
                    <a:pt x="0" y="84"/>
                  </a:moveTo>
                  <a:lnTo>
                    <a:pt x="0" y="0"/>
                  </a:lnTo>
                  <a:lnTo>
                    <a:pt x="39" y="0"/>
                  </a:lnTo>
                  <a:lnTo>
                    <a:pt x="84" y="0"/>
                  </a:lnTo>
                  <a:lnTo>
                    <a:pt x="84"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p:cNvSpPr>
              <a:spLocks/>
            </p:cNvSpPr>
            <p:nvPr userDrawn="1"/>
          </p:nvSpPr>
          <p:spPr bwMode="auto">
            <a:xfrm>
              <a:off x="323850" y="5508625"/>
              <a:ext cx="533400" cy="650875"/>
            </a:xfrm>
            <a:custGeom>
              <a:avLst/>
              <a:gdLst>
                <a:gd name="T0" fmla="*/ 322 w 325"/>
                <a:gd name="T1" fmla="*/ 0 h 397"/>
                <a:gd name="T2" fmla="*/ 4 w 325"/>
                <a:gd name="T3" fmla="*/ 0 h 397"/>
                <a:gd name="T4" fmla="*/ 0 w 325"/>
                <a:gd name="T5" fmla="*/ 140 h 397"/>
                <a:gd name="T6" fmla="*/ 21 w 325"/>
                <a:gd name="T7" fmla="*/ 143 h 397"/>
                <a:gd name="T8" fmla="*/ 54 w 325"/>
                <a:gd name="T9" fmla="*/ 52 h 397"/>
                <a:gd name="T10" fmla="*/ 131 w 325"/>
                <a:gd name="T11" fmla="*/ 19 h 397"/>
                <a:gd name="T12" fmla="*/ 131 w 325"/>
                <a:gd name="T13" fmla="*/ 312 h 397"/>
                <a:gd name="T14" fmla="*/ 120 w 325"/>
                <a:gd name="T15" fmla="*/ 362 h 397"/>
                <a:gd name="T16" fmla="*/ 88 w 325"/>
                <a:gd name="T17" fmla="*/ 374 h 397"/>
                <a:gd name="T18" fmla="*/ 65 w 325"/>
                <a:gd name="T19" fmla="*/ 374 h 397"/>
                <a:gd name="T20" fmla="*/ 65 w 325"/>
                <a:gd name="T21" fmla="*/ 397 h 397"/>
                <a:gd name="T22" fmla="*/ 261 w 325"/>
                <a:gd name="T23" fmla="*/ 397 h 397"/>
                <a:gd name="T24" fmla="*/ 261 w 325"/>
                <a:gd name="T25" fmla="*/ 374 h 397"/>
                <a:gd name="T26" fmla="*/ 238 w 325"/>
                <a:gd name="T27" fmla="*/ 374 h 397"/>
                <a:gd name="T28" fmla="*/ 206 w 325"/>
                <a:gd name="T29" fmla="*/ 362 h 397"/>
                <a:gd name="T30" fmla="*/ 194 w 325"/>
                <a:gd name="T31" fmla="*/ 312 h 397"/>
                <a:gd name="T32" fmla="*/ 194 w 325"/>
                <a:gd name="T33" fmla="*/ 19 h 397"/>
                <a:gd name="T34" fmla="*/ 272 w 325"/>
                <a:gd name="T35" fmla="*/ 52 h 397"/>
                <a:gd name="T36" fmla="*/ 304 w 325"/>
                <a:gd name="T37" fmla="*/ 143 h 397"/>
                <a:gd name="T38" fmla="*/ 325 w 325"/>
                <a:gd name="T39" fmla="*/ 140 h 397"/>
                <a:gd name="T40" fmla="*/ 322 w 325"/>
                <a:gd name="T41"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 h="397">
                  <a:moveTo>
                    <a:pt x="322" y="0"/>
                  </a:moveTo>
                  <a:cubicBezTo>
                    <a:pt x="4" y="0"/>
                    <a:pt x="4" y="0"/>
                    <a:pt x="4" y="0"/>
                  </a:cubicBezTo>
                  <a:cubicBezTo>
                    <a:pt x="0" y="140"/>
                    <a:pt x="0" y="140"/>
                    <a:pt x="0" y="140"/>
                  </a:cubicBezTo>
                  <a:cubicBezTo>
                    <a:pt x="21" y="143"/>
                    <a:pt x="21" y="143"/>
                    <a:pt x="21" y="143"/>
                  </a:cubicBezTo>
                  <a:cubicBezTo>
                    <a:pt x="25" y="102"/>
                    <a:pt x="36" y="72"/>
                    <a:pt x="54" y="52"/>
                  </a:cubicBezTo>
                  <a:cubicBezTo>
                    <a:pt x="72" y="31"/>
                    <a:pt x="98" y="20"/>
                    <a:pt x="131" y="19"/>
                  </a:cubicBezTo>
                  <a:cubicBezTo>
                    <a:pt x="131" y="312"/>
                    <a:pt x="131" y="312"/>
                    <a:pt x="131" y="312"/>
                  </a:cubicBezTo>
                  <a:cubicBezTo>
                    <a:pt x="131" y="337"/>
                    <a:pt x="127" y="354"/>
                    <a:pt x="120" y="362"/>
                  </a:cubicBezTo>
                  <a:cubicBezTo>
                    <a:pt x="114" y="368"/>
                    <a:pt x="103" y="372"/>
                    <a:pt x="88" y="374"/>
                  </a:cubicBezTo>
                  <a:cubicBezTo>
                    <a:pt x="83" y="374"/>
                    <a:pt x="76" y="374"/>
                    <a:pt x="65" y="374"/>
                  </a:cubicBezTo>
                  <a:cubicBezTo>
                    <a:pt x="65" y="397"/>
                    <a:pt x="65" y="397"/>
                    <a:pt x="65" y="397"/>
                  </a:cubicBezTo>
                  <a:cubicBezTo>
                    <a:pt x="261" y="397"/>
                    <a:pt x="261" y="397"/>
                    <a:pt x="261" y="397"/>
                  </a:cubicBezTo>
                  <a:cubicBezTo>
                    <a:pt x="261" y="374"/>
                    <a:pt x="261" y="374"/>
                    <a:pt x="261" y="374"/>
                  </a:cubicBezTo>
                  <a:cubicBezTo>
                    <a:pt x="250" y="374"/>
                    <a:pt x="242" y="374"/>
                    <a:pt x="238" y="374"/>
                  </a:cubicBezTo>
                  <a:cubicBezTo>
                    <a:pt x="223" y="372"/>
                    <a:pt x="212" y="368"/>
                    <a:pt x="206" y="362"/>
                  </a:cubicBezTo>
                  <a:cubicBezTo>
                    <a:pt x="198" y="354"/>
                    <a:pt x="194" y="337"/>
                    <a:pt x="194" y="312"/>
                  </a:cubicBezTo>
                  <a:cubicBezTo>
                    <a:pt x="194" y="19"/>
                    <a:pt x="194" y="19"/>
                    <a:pt x="194" y="19"/>
                  </a:cubicBezTo>
                  <a:cubicBezTo>
                    <a:pt x="228" y="20"/>
                    <a:pt x="253" y="31"/>
                    <a:pt x="272" y="52"/>
                  </a:cubicBezTo>
                  <a:cubicBezTo>
                    <a:pt x="290" y="72"/>
                    <a:pt x="301" y="102"/>
                    <a:pt x="304" y="143"/>
                  </a:cubicBezTo>
                  <a:cubicBezTo>
                    <a:pt x="325" y="140"/>
                    <a:pt x="325" y="140"/>
                    <a:pt x="325" y="140"/>
                  </a:cubicBezTo>
                  <a:lnTo>
                    <a:pt x="3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p:cNvSpPr>
              <a:spLocks/>
            </p:cNvSpPr>
            <p:nvPr userDrawn="1"/>
          </p:nvSpPr>
          <p:spPr bwMode="auto">
            <a:xfrm>
              <a:off x="1762125" y="5518150"/>
              <a:ext cx="392113" cy="657225"/>
            </a:xfrm>
            <a:custGeom>
              <a:avLst/>
              <a:gdLst>
                <a:gd name="T0" fmla="*/ 202 w 239"/>
                <a:gd name="T1" fmla="*/ 134 h 400"/>
                <a:gd name="T2" fmla="*/ 175 w 239"/>
                <a:gd name="T3" fmla="*/ 59 h 400"/>
                <a:gd name="T4" fmla="*/ 108 w 239"/>
                <a:gd name="T5" fmla="*/ 20 h 400"/>
                <a:gd name="T6" fmla="*/ 66 w 239"/>
                <a:gd name="T7" fmla="*/ 35 h 400"/>
                <a:gd name="T8" fmla="*/ 45 w 239"/>
                <a:gd name="T9" fmla="*/ 84 h 400"/>
                <a:gd name="T10" fmla="*/ 68 w 239"/>
                <a:gd name="T11" fmla="*/ 134 h 400"/>
                <a:gd name="T12" fmla="*/ 120 w 239"/>
                <a:gd name="T13" fmla="*/ 159 h 400"/>
                <a:gd name="T14" fmla="*/ 198 w 239"/>
                <a:gd name="T15" fmla="*/ 193 h 400"/>
                <a:gd name="T16" fmla="*/ 239 w 239"/>
                <a:gd name="T17" fmla="*/ 279 h 400"/>
                <a:gd name="T18" fmla="*/ 205 w 239"/>
                <a:gd name="T19" fmla="*/ 367 h 400"/>
                <a:gd name="T20" fmla="*/ 127 w 239"/>
                <a:gd name="T21" fmla="*/ 400 h 400"/>
                <a:gd name="T22" fmla="*/ 82 w 239"/>
                <a:gd name="T23" fmla="*/ 391 h 400"/>
                <a:gd name="T24" fmla="*/ 52 w 239"/>
                <a:gd name="T25" fmla="*/ 374 h 400"/>
                <a:gd name="T26" fmla="*/ 40 w 239"/>
                <a:gd name="T27" fmla="*/ 370 h 400"/>
                <a:gd name="T28" fmla="*/ 26 w 239"/>
                <a:gd name="T29" fmla="*/ 378 h 400"/>
                <a:gd name="T30" fmla="*/ 18 w 239"/>
                <a:gd name="T31" fmla="*/ 391 h 400"/>
                <a:gd name="T32" fmla="*/ 0 w 239"/>
                <a:gd name="T33" fmla="*/ 391 h 400"/>
                <a:gd name="T34" fmla="*/ 0 w 239"/>
                <a:gd name="T35" fmla="*/ 252 h 400"/>
                <a:gd name="T36" fmla="*/ 19 w 239"/>
                <a:gd name="T37" fmla="*/ 252 h 400"/>
                <a:gd name="T38" fmla="*/ 46 w 239"/>
                <a:gd name="T39" fmla="*/ 332 h 400"/>
                <a:gd name="T40" fmla="*/ 124 w 239"/>
                <a:gd name="T41" fmla="*/ 379 h 400"/>
                <a:gd name="T42" fmla="*/ 171 w 239"/>
                <a:gd name="T43" fmla="*/ 363 h 400"/>
                <a:gd name="T44" fmla="*/ 195 w 239"/>
                <a:gd name="T45" fmla="*/ 304 h 400"/>
                <a:gd name="T46" fmla="*/ 158 w 239"/>
                <a:gd name="T47" fmla="*/ 239 h 400"/>
                <a:gd name="T48" fmla="*/ 94 w 239"/>
                <a:gd name="T49" fmla="*/ 214 h 400"/>
                <a:gd name="T50" fmla="*/ 35 w 239"/>
                <a:gd name="T51" fmla="*/ 183 h 400"/>
                <a:gd name="T52" fmla="*/ 3 w 239"/>
                <a:gd name="T53" fmla="*/ 107 h 400"/>
                <a:gd name="T54" fmla="*/ 38 w 239"/>
                <a:gd name="T55" fmla="*/ 25 h 400"/>
                <a:gd name="T56" fmla="*/ 105 w 239"/>
                <a:gd name="T57" fmla="*/ 0 h 400"/>
                <a:gd name="T58" fmla="*/ 148 w 239"/>
                <a:gd name="T59" fmla="*/ 8 h 400"/>
                <a:gd name="T60" fmla="*/ 175 w 239"/>
                <a:gd name="T61" fmla="*/ 23 h 400"/>
                <a:gd name="T62" fmla="*/ 185 w 239"/>
                <a:gd name="T63" fmla="*/ 26 h 400"/>
                <a:gd name="T64" fmla="*/ 203 w 239"/>
                <a:gd name="T65" fmla="*/ 8 h 400"/>
                <a:gd name="T66" fmla="*/ 219 w 239"/>
                <a:gd name="T67" fmla="*/ 8 h 400"/>
                <a:gd name="T68" fmla="*/ 219 w 239"/>
                <a:gd name="T69" fmla="*/ 134 h 400"/>
                <a:gd name="T70" fmla="*/ 202 w 239"/>
                <a:gd name="T71" fmla="*/ 13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9" h="400">
                  <a:moveTo>
                    <a:pt x="202" y="134"/>
                  </a:moveTo>
                  <a:cubicBezTo>
                    <a:pt x="195" y="100"/>
                    <a:pt x="186" y="75"/>
                    <a:pt x="175" y="59"/>
                  </a:cubicBezTo>
                  <a:cubicBezTo>
                    <a:pt x="158" y="33"/>
                    <a:pt x="135" y="20"/>
                    <a:pt x="108" y="20"/>
                  </a:cubicBezTo>
                  <a:cubicBezTo>
                    <a:pt x="91" y="20"/>
                    <a:pt x="77" y="25"/>
                    <a:pt x="66" y="35"/>
                  </a:cubicBezTo>
                  <a:cubicBezTo>
                    <a:pt x="52" y="47"/>
                    <a:pt x="45" y="63"/>
                    <a:pt x="45" y="84"/>
                  </a:cubicBezTo>
                  <a:cubicBezTo>
                    <a:pt x="45" y="105"/>
                    <a:pt x="53" y="122"/>
                    <a:pt x="68" y="134"/>
                  </a:cubicBezTo>
                  <a:cubicBezTo>
                    <a:pt x="77" y="142"/>
                    <a:pt x="94" y="150"/>
                    <a:pt x="120" y="159"/>
                  </a:cubicBezTo>
                  <a:cubicBezTo>
                    <a:pt x="159" y="172"/>
                    <a:pt x="184" y="184"/>
                    <a:pt x="198" y="193"/>
                  </a:cubicBezTo>
                  <a:cubicBezTo>
                    <a:pt x="225" y="214"/>
                    <a:pt x="239" y="243"/>
                    <a:pt x="239" y="279"/>
                  </a:cubicBezTo>
                  <a:cubicBezTo>
                    <a:pt x="239" y="314"/>
                    <a:pt x="228" y="344"/>
                    <a:pt x="205" y="367"/>
                  </a:cubicBezTo>
                  <a:cubicBezTo>
                    <a:pt x="184" y="389"/>
                    <a:pt x="158" y="400"/>
                    <a:pt x="127" y="400"/>
                  </a:cubicBezTo>
                  <a:cubicBezTo>
                    <a:pt x="111" y="400"/>
                    <a:pt x="96" y="397"/>
                    <a:pt x="82" y="391"/>
                  </a:cubicBezTo>
                  <a:cubicBezTo>
                    <a:pt x="76" y="388"/>
                    <a:pt x="66" y="383"/>
                    <a:pt x="52" y="374"/>
                  </a:cubicBezTo>
                  <a:cubicBezTo>
                    <a:pt x="48" y="372"/>
                    <a:pt x="44" y="370"/>
                    <a:pt x="40" y="370"/>
                  </a:cubicBezTo>
                  <a:cubicBezTo>
                    <a:pt x="34" y="370"/>
                    <a:pt x="30" y="373"/>
                    <a:pt x="26" y="378"/>
                  </a:cubicBezTo>
                  <a:cubicBezTo>
                    <a:pt x="24" y="381"/>
                    <a:pt x="21" y="385"/>
                    <a:pt x="18" y="391"/>
                  </a:cubicBezTo>
                  <a:cubicBezTo>
                    <a:pt x="0" y="391"/>
                    <a:pt x="0" y="391"/>
                    <a:pt x="0" y="391"/>
                  </a:cubicBezTo>
                  <a:cubicBezTo>
                    <a:pt x="0" y="252"/>
                    <a:pt x="0" y="252"/>
                    <a:pt x="0" y="252"/>
                  </a:cubicBezTo>
                  <a:cubicBezTo>
                    <a:pt x="19" y="252"/>
                    <a:pt x="19" y="252"/>
                    <a:pt x="19" y="252"/>
                  </a:cubicBezTo>
                  <a:cubicBezTo>
                    <a:pt x="25" y="287"/>
                    <a:pt x="35" y="314"/>
                    <a:pt x="46" y="332"/>
                  </a:cubicBezTo>
                  <a:cubicBezTo>
                    <a:pt x="66" y="364"/>
                    <a:pt x="92" y="379"/>
                    <a:pt x="124" y="379"/>
                  </a:cubicBezTo>
                  <a:cubicBezTo>
                    <a:pt x="143" y="379"/>
                    <a:pt x="159" y="374"/>
                    <a:pt x="171" y="363"/>
                  </a:cubicBezTo>
                  <a:cubicBezTo>
                    <a:pt x="187" y="348"/>
                    <a:pt x="195" y="329"/>
                    <a:pt x="195" y="304"/>
                  </a:cubicBezTo>
                  <a:cubicBezTo>
                    <a:pt x="195" y="275"/>
                    <a:pt x="183" y="253"/>
                    <a:pt x="158" y="239"/>
                  </a:cubicBezTo>
                  <a:cubicBezTo>
                    <a:pt x="150" y="234"/>
                    <a:pt x="129" y="226"/>
                    <a:pt x="94" y="214"/>
                  </a:cubicBezTo>
                  <a:cubicBezTo>
                    <a:pt x="69" y="206"/>
                    <a:pt x="49" y="195"/>
                    <a:pt x="35" y="183"/>
                  </a:cubicBezTo>
                  <a:cubicBezTo>
                    <a:pt x="14" y="164"/>
                    <a:pt x="3" y="139"/>
                    <a:pt x="3" y="107"/>
                  </a:cubicBezTo>
                  <a:cubicBezTo>
                    <a:pt x="3" y="72"/>
                    <a:pt x="15" y="45"/>
                    <a:pt x="38" y="25"/>
                  </a:cubicBezTo>
                  <a:cubicBezTo>
                    <a:pt x="56" y="8"/>
                    <a:pt x="79" y="0"/>
                    <a:pt x="105" y="0"/>
                  </a:cubicBezTo>
                  <a:cubicBezTo>
                    <a:pt x="119" y="0"/>
                    <a:pt x="134" y="2"/>
                    <a:pt x="148" y="8"/>
                  </a:cubicBezTo>
                  <a:cubicBezTo>
                    <a:pt x="153" y="10"/>
                    <a:pt x="162" y="15"/>
                    <a:pt x="175" y="23"/>
                  </a:cubicBezTo>
                  <a:cubicBezTo>
                    <a:pt x="179" y="25"/>
                    <a:pt x="182" y="26"/>
                    <a:pt x="185" y="26"/>
                  </a:cubicBezTo>
                  <a:cubicBezTo>
                    <a:pt x="191" y="26"/>
                    <a:pt x="197" y="20"/>
                    <a:pt x="203" y="8"/>
                  </a:cubicBezTo>
                  <a:cubicBezTo>
                    <a:pt x="219" y="8"/>
                    <a:pt x="219" y="8"/>
                    <a:pt x="219" y="8"/>
                  </a:cubicBezTo>
                  <a:cubicBezTo>
                    <a:pt x="219" y="134"/>
                    <a:pt x="219" y="134"/>
                    <a:pt x="219" y="134"/>
                  </a:cubicBezTo>
                  <a:lnTo>
                    <a:pt x="202"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1"/>
            <p:cNvSpPr>
              <a:spLocks/>
            </p:cNvSpPr>
            <p:nvPr userDrawn="1"/>
          </p:nvSpPr>
          <p:spPr bwMode="auto">
            <a:xfrm>
              <a:off x="2181225" y="5727700"/>
              <a:ext cx="422275" cy="601663"/>
            </a:xfrm>
            <a:custGeom>
              <a:avLst/>
              <a:gdLst>
                <a:gd name="T0" fmla="*/ 0 w 258"/>
                <a:gd name="T1" fmla="*/ 0 h 367"/>
                <a:gd name="T2" fmla="*/ 119 w 258"/>
                <a:gd name="T3" fmla="*/ 0 h 367"/>
                <a:gd name="T4" fmla="*/ 119 w 258"/>
                <a:gd name="T5" fmla="*/ 18 h 367"/>
                <a:gd name="T6" fmla="*/ 109 w 258"/>
                <a:gd name="T7" fmla="*/ 18 h 367"/>
                <a:gd name="T8" fmla="*/ 86 w 258"/>
                <a:gd name="T9" fmla="*/ 30 h 367"/>
                <a:gd name="T10" fmla="*/ 90 w 258"/>
                <a:gd name="T11" fmla="*/ 46 h 367"/>
                <a:gd name="T12" fmla="*/ 147 w 258"/>
                <a:gd name="T13" fmla="*/ 196 h 367"/>
                <a:gd name="T14" fmla="*/ 197 w 258"/>
                <a:gd name="T15" fmla="*/ 57 h 367"/>
                <a:gd name="T16" fmla="*/ 202 w 258"/>
                <a:gd name="T17" fmla="*/ 34 h 367"/>
                <a:gd name="T18" fmla="*/ 177 w 258"/>
                <a:gd name="T19" fmla="*/ 18 h 367"/>
                <a:gd name="T20" fmla="*/ 164 w 258"/>
                <a:gd name="T21" fmla="*/ 18 h 367"/>
                <a:gd name="T22" fmla="*/ 164 w 258"/>
                <a:gd name="T23" fmla="*/ 0 h 367"/>
                <a:gd name="T24" fmla="*/ 258 w 258"/>
                <a:gd name="T25" fmla="*/ 0 h 367"/>
                <a:gd name="T26" fmla="*/ 258 w 258"/>
                <a:gd name="T27" fmla="*/ 18 h 367"/>
                <a:gd name="T28" fmla="*/ 252 w 258"/>
                <a:gd name="T29" fmla="*/ 18 h 367"/>
                <a:gd name="T30" fmla="*/ 235 w 258"/>
                <a:gd name="T31" fmla="*/ 26 h 367"/>
                <a:gd name="T32" fmla="*/ 226 w 258"/>
                <a:gd name="T33" fmla="*/ 44 h 367"/>
                <a:gd name="T34" fmla="*/ 131 w 258"/>
                <a:gd name="T35" fmla="*/ 299 h 367"/>
                <a:gd name="T36" fmla="*/ 101 w 258"/>
                <a:gd name="T37" fmla="*/ 351 h 367"/>
                <a:gd name="T38" fmla="*/ 60 w 258"/>
                <a:gd name="T39" fmla="*/ 367 h 367"/>
                <a:gd name="T40" fmla="*/ 25 w 258"/>
                <a:gd name="T41" fmla="*/ 355 h 367"/>
                <a:gd name="T42" fmla="*/ 7 w 258"/>
                <a:gd name="T43" fmla="*/ 318 h 367"/>
                <a:gd name="T44" fmla="*/ 15 w 258"/>
                <a:gd name="T45" fmla="*/ 295 h 367"/>
                <a:gd name="T46" fmla="*/ 38 w 258"/>
                <a:gd name="T47" fmla="*/ 285 h 367"/>
                <a:gd name="T48" fmla="*/ 62 w 258"/>
                <a:gd name="T49" fmla="*/ 296 h 367"/>
                <a:gd name="T50" fmla="*/ 67 w 258"/>
                <a:gd name="T51" fmla="*/ 313 h 367"/>
                <a:gd name="T52" fmla="*/ 58 w 258"/>
                <a:gd name="T53" fmla="*/ 334 h 367"/>
                <a:gd name="T54" fmla="*/ 43 w 258"/>
                <a:gd name="T55" fmla="*/ 341 h 367"/>
                <a:gd name="T56" fmla="*/ 61 w 258"/>
                <a:gd name="T57" fmla="*/ 348 h 367"/>
                <a:gd name="T58" fmla="*/ 90 w 258"/>
                <a:gd name="T59" fmla="*/ 335 h 367"/>
                <a:gd name="T60" fmla="*/ 115 w 258"/>
                <a:gd name="T61" fmla="*/ 284 h 367"/>
                <a:gd name="T62" fmla="*/ 121 w 258"/>
                <a:gd name="T63" fmla="*/ 266 h 367"/>
                <a:gd name="T64" fmla="*/ 42 w 258"/>
                <a:gd name="T65" fmla="*/ 55 h 367"/>
                <a:gd name="T66" fmla="*/ 27 w 258"/>
                <a:gd name="T67" fmla="*/ 24 h 367"/>
                <a:gd name="T68" fmla="*/ 4 w 258"/>
                <a:gd name="T69" fmla="*/ 18 h 367"/>
                <a:gd name="T70" fmla="*/ 0 w 258"/>
                <a:gd name="T71" fmla="*/ 18 h 367"/>
                <a:gd name="T72" fmla="*/ 0 w 258"/>
                <a:gd name="T73"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8" h="367">
                  <a:moveTo>
                    <a:pt x="0" y="0"/>
                  </a:moveTo>
                  <a:cubicBezTo>
                    <a:pt x="119" y="0"/>
                    <a:pt x="119" y="0"/>
                    <a:pt x="119" y="0"/>
                  </a:cubicBezTo>
                  <a:cubicBezTo>
                    <a:pt x="119" y="18"/>
                    <a:pt x="119" y="18"/>
                    <a:pt x="119" y="18"/>
                  </a:cubicBezTo>
                  <a:cubicBezTo>
                    <a:pt x="109" y="18"/>
                    <a:pt x="109" y="18"/>
                    <a:pt x="109" y="18"/>
                  </a:cubicBezTo>
                  <a:cubicBezTo>
                    <a:pt x="93" y="18"/>
                    <a:pt x="86" y="22"/>
                    <a:pt x="86" y="30"/>
                  </a:cubicBezTo>
                  <a:cubicBezTo>
                    <a:pt x="86" y="34"/>
                    <a:pt x="87" y="39"/>
                    <a:pt x="90" y="46"/>
                  </a:cubicBezTo>
                  <a:cubicBezTo>
                    <a:pt x="147" y="196"/>
                    <a:pt x="147" y="196"/>
                    <a:pt x="147" y="196"/>
                  </a:cubicBezTo>
                  <a:cubicBezTo>
                    <a:pt x="197" y="57"/>
                    <a:pt x="197" y="57"/>
                    <a:pt x="197" y="57"/>
                  </a:cubicBezTo>
                  <a:cubicBezTo>
                    <a:pt x="200" y="47"/>
                    <a:pt x="202" y="39"/>
                    <a:pt x="202" y="34"/>
                  </a:cubicBezTo>
                  <a:cubicBezTo>
                    <a:pt x="202" y="23"/>
                    <a:pt x="194" y="18"/>
                    <a:pt x="177" y="18"/>
                  </a:cubicBezTo>
                  <a:cubicBezTo>
                    <a:pt x="164" y="18"/>
                    <a:pt x="164" y="18"/>
                    <a:pt x="164" y="18"/>
                  </a:cubicBezTo>
                  <a:cubicBezTo>
                    <a:pt x="164" y="0"/>
                    <a:pt x="164" y="0"/>
                    <a:pt x="164" y="0"/>
                  </a:cubicBezTo>
                  <a:cubicBezTo>
                    <a:pt x="258" y="0"/>
                    <a:pt x="258" y="0"/>
                    <a:pt x="258" y="0"/>
                  </a:cubicBezTo>
                  <a:cubicBezTo>
                    <a:pt x="258" y="18"/>
                    <a:pt x="258" y="18"/>
                    <a:pt x="258" y="18"/>
                  </a:cubicBezTo>
                  <a:cubicBezTo>
                    <a:pt x="252" y="18"/>
                    <a:pt x="252" y="18"/>
                    <a:pt x="252" y="18"/>
                  </a:cubicBezTo>
                  <a:cubicBezTo>
                    <a:pt x="245" y="18"/>
                    <a:pt x="240" y="20"/>
                    <a:pt x="235" y="26"/>
                  </a:cubicBezTo>
                  <a:cubicBezTo>
                    <a:pt x="232" y="29"/>
                    <a:pt x="229" y="36"/>
                    <a:pt x="226" y="44"/>
                  </a:cubicBezTo>
                  <a:cubicBezTo>
                    <a:pt x="131" y="299"/>
                    <a:pt x="131" y="299"/>
                    <a:pt x="131" y="299"/>
                  </a:cubicBezTo>
                  <a:cubicBezTo>
                    <a:pt x="122" y="323"/>
                    <a:pt x="112" y="340"/>
                    <a:pt x="101" y="351"/>
                  </a:cubicBezTo>
                  <a:cubicBezTo>
                    <a:pt x="90" y="362"/>
                    <a:pt x="76" y="367"/>
                    <a:pt x="60" y="367"/>
                  </a:cubicBezTo>
                  <a:cubicBezTo>
                    <a:pt x="46" y="367"/>
                    <a:pt x="34" y="363"/>
                    <a:pt x="25" y="355"/>
                  </a:cubicBezTo>
                  <a:cubicBezTo>
                    <a:pt x="13" y="345"/>
                    <a:pt x="7" y="333"/>
                    <a:pt x="7" y="318"/>
                  </a:cubicBezTo>
                  <a:cubicBezTo>
                    <a:pt x="7" y="309"/>
                    <a:pt x="10" y="301"/>
                    <a:pt x="15" y="295"/>
                  </a:cubicBezTo>
                  <a:cubicBezTo>
                    <a:pt x="21" y="288"/>
                    <a:pt x="28" y="285"/>
                    <a:pt x="38" y="285"/>
                  </a:cubicBezTo>
                  <a:cubicBezTo>
                    <a:pt x="49" y="285"/>
                    <a:pt x="57" y="289"/>
                    <a:pt x="62" y="296"/>
                  </a:cubicBezTo>
                  <a:cubicBezTo>
                    <a:pt x="66" y="301"/>
                    <a:pt x="67" y="306"/>
                    <a:pt x="67" y="313"/>
                  </a:cubicBezTo>
                  <a:cubicBezTo>
                    <a:pt x="67" y="321"/>
                    <a:pt x="64" y="328"/>
                    <a:pt x="58" y="334"/>
                  </a:cubicBezTo>
                  <a:cubicBezTo>
                    <a:pt x="54" y="337"/>
                    <a:pt x="49" y="340"/>
                    <a:pt x="43" y="341"/>
                  </a:cubicBezTo>
                  <a:cubicBezTo>
                    <a:pt x="48" y="345"/>
                    <a:pt x="53" y="348"/>
                    <a:pt x="61" y="348"/>
                  </a:cubicBezTo>
                  <a:cubicBezTo>
                    <a:pt x="72" y="348"/>
                    <a:pt x="82" y="343"/>
                    <a:pt x="90" y="335"/>
                  </a:cubicBezTo>
                  <a:cubicBezTo>
                    <a:pt x="97" y="327"/>
                    <a:pt x="106" y="310"/>
                    <a:pt x="115" y="284"/>
                  </a:cubicBezTo>
                  <a:cubicBezTo>
                    <a:pt x="121" y="266"/>
                    <a:pt x="121" y="266"/>
                    <a:pt x="121" y="266"/>
                  </a:cubicBezTo>
                  <a:cubicBezTo>
                    <a:pt x="42" y="55"/>
                    <a:pt x="42" y="55"/>
                    <a:pt x="42" y="55"/>
                  </a:cubicBezTo>
                  <a:cubicBezTo>
                    <a:pt x="36" y="38"/>
                    <a:pt x="31" y="28"/>
                    <a:pt x="27" y="24"/>
                  </a:cubicBezTo>
                  <a:cubicBezTo>
                    <a:pt x="21" y="20"/>
                    <a:pt x="14" y="18"/>
                    <a:pt x="4" y="18"/>
                  </a:cubicBezTo>
                  <a:cubicBezTo>
                    <a:pt x="0" y="18"/>
                    <a:pt x="0" y="18"/>
                    <a:pt x="0" y="18"/>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2"/>
            <p:cNvSpPr>
              <a:spLocks/>
            </p:cNvSpPr>
            <p:nvPr userDrawn="1"/>
          </p:nvSpPr>
          <p:spPr bwMode="auto">
            <a:xfrm>
              <a:off x="2609850" y="5716588"/>
              <a:ext cx="301625" cy="452438"/>
            </a:xfrm>
            <a:custGeom>
              <a:avLst/>
              <a:gdLst>
                <a:gd name="T0" fmla="*/ 168 w 184"/>
                <a:gd name="T1" fmla="*/ 6 h 275"/>
                <a:gd name="T2" fmla="*/ 168 w 184"/>
                <a:gd name="T3" fmla="*/ 89 h 275"/>
                <a:gd name="T4" fmla="*/ 151 w 184"/>
                <a:gd name="T5" fmla="*/ 89 h 275"/>
                <a:gd name="T6" fmla="*/ 84 w 184"/>
                <a:gd name="T7" fmla="*/ 17 h 275"/>
                <a:gd name="T8" fmla="*/ 53 w 184"/>
                <a:gd name="T9" fmla="*/ 28 h 275"/>
                <a:gd name="T10" fmla="*/ 41 w 184"/>
                <a:gd name="T11" fmla="*/ 57 h 275"/>
                <a:gd name="T12" fmla="*/ 58 w 184"/>
                <a:gd name="T13" fmla="*/ 88 h 275"/>
                <a:gd name="T14" fmla="*/ 89 w 184"/>
                <a:gd name="T15" fmla="*/ 101 h 275"/>
                <a:gd name="T16" fmla="*/ 152 w 184"/>
                <a:gd name="T17" fmla="*/ 128 h 275"/>
                <a:gd name="T18" fmla="*/ 184 w 184"/>
                <a:gd name="T19" fmla="*/ 191 h 275"/>
                <a:gd name="T20" fmla="*/ 157 w 184"/>
                <a:gd name="T21" fmla="*/ 255 h 275"/>
                <a:gd name="T22" fmla="*/ 98 w 184"/>
                <a:gd name="T23" fmla="*/ 275 h 275"/>
                <a:gd name="T24" fmla="*/ 60 w 184"/>
                <a:gd name="T25" fmla="*/ 268 h 275"/>
                <a:gd name="T26" fmla="*/ 34 w 184"/>
                <a:gd name="T27" fmla="*/ 254 h 275"/>
                <a:gd name="T28" fmla="*/ 26 w 184"/>
                <a:gd name="T29" fmla="*/ 252 h 275"/>
                <a:gd name="T30" fmla="*/ 16 w 184"/>
                <a:gd name="T31" fmla="*/ 270 h 275"/>
                <a:gd name="T32" fmla="*/ 0 w 184"/>
                <a:gd name="T33" fmla="*/ 270 h 275"/>
                <a:gd name="T34" fmla="*/ 0 w 184"/>
                <a:gd name="T35" fmla="*/ 172 h 275"/>
                <a:gd name="T36" fmla="*/ 16 w 184"/>
                <a:gd name="T37" fmla="*/ 172 h 275"/>
                <a:gd name="T38" fmla="*/ 37 w 184"/>
                <a:gd name="T39" fmla="*/ 224 h 275"/>
                <a:gd name="T40" fmla="*/ 63 w 184"/>
                <a:gd name="T41" fmla="*/ 248 h 275"/>
                <a:gd name="T42" fmla="*/ 97 w 184"/>
                <a:gd name="T43" fmla="*/ 257 h 275"/>
                <a:gd name="T44" fmla="*/ 132 w 184"/>
                <a:gd name="T45" fmla="*/ 242 h 275"/>
                <a:gd name="T46" fmla="*/ 144 w 184"/>
                <a:gd name="T47" fmla="*/ 210 h 275"/>
                <a:gd name="T48" fmla="*/ 120 w 184"/>
                <a:gd name="T49" fmla="*/ 170 h 275"/>
                <a:gd name="T50" fmla="*/ 70 w 184"/>
                <a:gd name="T51" fmla="*/ 149 h 275"/>
                <a:gd name="T52" fmla="*/ 28 w 184"/>
                <a:gd name="T53" fmla="*/ 128 h 275"/>
                <a:gd name="T54" fmla="*/ 3 w 184"/>
                <a:gd name="T55" fmla="*/ 72 h 275"/>
                <a:gd name="T56" fmla="*/ 26 w 184"/>
                <a:gd name="T57" fmla="*/ 19 h 275"/>
                <a:gd name="T58" fmla="*/ 80 w 184"/>
                <a:gd name="T59" fmla="*/ 0 h 275"/>
                <a:gd name="T60" fmla="*/ 134 w 184"/>
                <a:gd name="T61" fmla="*/ 16 h 275"/>
                <a:gd name="T62" fmla="*/ 143 w 184"/>
                <a:gd name="T63" fmla="*/ 19 h 275"/>
                <a:gd name="T64" fmla="*/ 151 w 184"/>
                <a:gd name="T65" fmla="*/ 6 h 275"/>
                <a:gd name="T66" fmla="*/ 168 w 184"/>
                <a:gd name="T67" fmla="*/ 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75">
                  <a:moveTo>
                    <a:pt x="168" y="6"/>
                  </a:moveTo>
                  <a:cubicBezTo>
                    <a:pt x="168" y="89"/>
                    <a:pt x="168" y="89"/>
                    <a:pt x="168" y="89"/>
                  </a:cubicBezTo>
                  <a:cubicBezTo>
                    <a:pt x="151" y="89"/>
                    <a:pt x="151" y="89"/>
                    <a:pt x="151" y="89"/>
                  </a:cubicBezTo>
                  <a:cubicBezTo>
                    <a:pt x="142" y="41"/>
                    <a:pt x="119" y="17"/>
                    <a:pt x="84" y="17"/>
                  </a:cubicBezTo>
                  <a:cubicBezTo>
                    <a:pt x="71" y="17"/>
                    <a:pt x="61" y="21"/>
                    <a:pt x="53" y="28"/>
                  </a:cubicBezTo>
                  <a:cubicBezTo>
                    <a:pt x="45" y="36"/>
                    <a:pt x="41" y="46"/>
                    <a:pt x="41" y="57"/>
                  </a:cubicBezTo>
                  <a:cubicBezTo>
                    <a:pt x="41" y="70"/>
                    <a:pt x="47" y="80"/>
                    <a:pt x="58" y="88"/>
                  </a:cubicBezTo>
                  <a:cubicBezTo>
                    <a:pt x="64" y="92"/>
                    <a:pt x="74" y="96"/>
                    <a:pt x="89" y="101"/>
                  </a:cubicBezTo>
                  <a:cubicBezTo>
                    <a:pt x="120" y="111"/>
                    <a:pt x="142" y="120"/>
                    <a:pt x="152" y="128"/>
                  </a:cubicBezTo>
                  <a:cubicBezTo>
                    <a:pt x="173" y="144"/>
                    <a:pt x="184" y="165"/>
                    <a:pt x="184" y="191"/>
                  </a:cubicBezTo>
                  <a:cubicBezTo>
                    <a:pt x="184" y="217"/>
                    <a:pt x="175" y="238"/>
                    <a:pt x="157" y="255"/>
                  </a:cubicBezTo>
                  <a:cubicBezTo>
                    <a:pt x="141" y="269"/>
                    <a:pt x="122" y="275"/>
                    <a:pt x="98" y="275"/>
                  </a:cubicBezTo>
                  <a:cubicBezTo>
                    <a:pt x="84" y="275"/>
                    <a:pt x="71" y="273"/>
                    <a:pt x="60" y="268"/>
                  </a:cubicBezTo>
                  <a:cubicBezTo>
                    <a:pt x="55" y="266"/>
                    <a:pt x="46" y="262"/>
                    <a:pt x="34" y="254"/>
                  </a:cubicBezTo>
                  <a:cubicBezTo>
                    <a:pt x="31" y="253"/>
                    <a:pt x="28" y="252"/>
                    <a:pt x="26" y="252"/>
                  </a:cubicBezTo>
                  <a:cubicBezTo>
                    <a:pt x="23" y="252"/>
                    <a:pt x="19" y="258"/>
                    <a:pt x="16" y="270"/>
                  </a:cubicBezTo>
                  <a:cubicBezTo>
                    <a:pt x="0" y="270"/>
                    <a:pt x="0" y="270"/>
                    <a:pt x="0" y="270"/>
                  </a:cubicBezTo>
                  <a:cubicBezTo>
                    <a:pt x="0" y="172"/>
                    <a:pt x="0" y="172"/>
                    <a:pt x="0" y="172"/>
                  </a:cubicBezTo>
                  <a:cubicBezTo>
                    <a:pt x="16" y="172"/>
                    <a:pt x="16" y="172"/>
                    <a:pt x="16" y="172"/>
                  </a:cubicBezTo>
                  <a:cubicBezTo>
                    <a:pt x="23" y="196"/>
                    <a:pt x="30" y="214"/>
                    <a:pt x="37" y="224"/>
                  </a:cubicBezTo>
                  <a:cubicBezTo>
                    <a:pt x="44" y="234"/>
                    <a:pt x="53" y="242"/>
                    <a:pt x="63" y="248"/>
                  </a:cubicBezTo>
                  <a:cubicBezTo>
                    <a:pt x="74" y="254"/>
                    <a:pt x="85" y="257"/>
                    <a:pt x="97" y="257"/>
                  </a:cubicBezTo>
                  <a:cubicBezTo>
                    <a:pt x="112" y="257"/>
                    <a:pt x="123" y="252"/>
                    <a:pt x="132" y="242"/>
                  </a:cubicBezTo>
                  <a:cubicBezTo>
                    <a:pt x="140" y="233"/>
                    <a:pt x="144" y="222"/>
                    <a:pt x="144" y="210"/>
                  </a:cubicBezTo>
                  <a:cubicBezTo>
                    <a:pt x="144" y="193"/>
                    <a:pt x="136" y="179"/>
                    <a:pt x="120" y="170"/>
                  </a:cubicBezTo>
                  <a:cubicBezTo>
                    <a:pt x="112" y="164"/>
                    <a:pt x="95" y="158"/>
                    <a:pt x="70" y="149"/>
                  </a:cubicBezTo>
                  <a:cubicBezTo>
                    <a:pt x="53" y="144"/>
                    <a:pt x="39" y="137"/>
                    <a:pt x="28" y="128"/>
                  </a:cubicBezTo>
                  <a:cubicBezTo>
                    <a:pt x="11" y="115"/>
                    <a:pt x="3" y="97"/>
                    <a:pt x="3" y="72"/>
                  </a:cubicBezTo>
                  <a:cubicBezTo>
                    <a:pt x="3" y="50"/>
                    <a:pt x="10" y="32"/>
                    <a:pt x="26" y="19"/>
                  </a:cubicBezTo>
                  <a:cubicBezTo>
                    <a:pt x="40" y="6"/>
                    <a:pt x="58" y="0"/>
                    <a:pt x="80" y="0"/>
                  </a:cubicBezTo>
                  <a:cubicBezTo>
                    <a:pt x="99" y="0"/>
                    <a:pt x="117" y="5"/>
                    <a:pt x="134" y="16"/>
                  </a:cubicBezTo>
                  <a:cubicBezTo>
                    <a:pt x="138" y="18"/>
                    <a:pt x="141" y="19"/>
                    <a:pt x="143" y="19"/>
                  </a:cubicBezTo>
                  <a:cubicBezTo>
                    <a:pt x="146" y="19"/>
                    <a:pt x="149" y="14"/>
                    <a:pt x="151" y="6"/>
                  </a:cubicBezTo>
                  <a:lnTo>
                    <a:pt x="16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3"/>
            <p:cNvSpPr>
              <a:spLocks/>
            </p:cNvSpPr>
            <p:nvPr userDrawn="1"/>
          </p:nvSpPr>
          <p:spPr bwMode="auto">
            <a:xfrm>
              <a:off x="2922588" y="5562600"/>
              <a:ext cx="288925" cy="606425"/>
            </a:xfrm>
            <a:custGeom>
              <a:avLst/>
              <a:gdLst>
                <a:gd name="T0" fmla="*/ 90 w 176"/>
                <a:gd name="T1" fmla="*/ 119 h 369"/>
                <a:gd name="T2" fmla="*/ 90 w 176"/>
                <a:gd name="T3" fmla="*/ 278 h 369"/>
                <a:gd name="T4" fmla="*/ 94 w 176"/>
                <a:gd name="T5" fmla="*/ 323 h 369"/>
                <a:gd name="T6" fmla="*/ 122 w 176"/>
                <a:gd name="T7" fmla="*/ 345 h 369"/>
                <a:gd name="T8" fmla="*/ 149 w 176"/>
                <a:gd name="T9" fmla="*/ 326 h 369"/>
                <a:gd name="T10" fmla="*/ 157 w 176"/>
                <a:gd name="T11" fmla="*/ 281 h 369"/>
                <a:gd name="T12" fmla="*/ 157 w 176"/>
                <a:gd name="T13" fmla="*/ 273 h 369"/>
                <a:gd name="T14" fmla="*/ 176 w 176"/>
                <a:gd name="T15" fmla="*/ 273 h 369"/>
                <a:gd name="T16" fmla="*/ 176 w 176"/>
                <a:gd name="T17" fmla="*/ 284 h 369"/>
                <a:gd name="T18" fmla="*/ 159 w 176"/>
                <a:gd name="T19" fmla="*/ 347 h 369"/>
                <a:gd name="T20" fmla="*/ 108 w 176"/>
                <a:gd name="T21" fmla="*/ 369 h 369"/>
                <a:gd name="T22" fmla="*/ 58 w 176"/>
                <a:gd name="T23" fmla="*/ 350 h 369"/>
                <a:gd name="T24" fmla="*/ 43 w 176"/>
                <a:gd name="T25" fmla="*/ 315 h 369"/>
                <a:gd name="T26" fmla="*/ 42 w 176"/>
                <a:gd name="T27" fmla="*/ 278 h 369"/>
                <a:gd name="T28" fmla="*/ 42 w 176"/>
                <a:gd name="T29" fmla="*/ 119 h 369"/>
                <a:gd name="T30" fmla="*/ 0 w 176"/>
                <a:gd name="T31" fmla="*/ 119 h 369"/>
                <a:gd name="T32" fmla="*/ 0 w 176"/>
                <a:gd name="T33" fmla="*/ 103 h 369"/>
                <a:gd name="T34" fmla="*/ 54 w 176"/>
                <a:gd name="T35" fmla="*/ 72 h 369"/>
                <a:gd name="T36" fmla="*/ 74 w 176"/>
                <a:gd name="T37" fmla="*/ 0 h 369"/>
                <a:gd name="T38" fmla="*/ 90 w 176"/>
                <a:gd name="T39" fmla="*/ 0 h 369"/>
                <a:gd name="T40" fmla="*/ 90 w 176"/>
                <a:gd name="T41" fmla="*/ 100 h 369"/>
                <a:gd name="T42" fmla="*/ 167 w 176"/>
                <a:gd name="T43" fmla="*/ 100 h 369"/>
                <a:gd name="T44" fmla="*/ 167 w 176"/>
                <a:gd name="T45" fmla="*/ 119 h 369"/>
                <a:gd name="T46" fmla="*/ 90 w 176"/>
                <a:gd name="T47" fmla="*/ 1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6" h="369">
                  <a:moveTo>
                    <a:pt x="90" y="119"/>
                  </a:moveTo>
                  <a:cubicBezTo>
                    <a:pt x="90" y="278"/>
                    <a:pt x="90" y="278"/>
                    <a:pt x="90" y="278"/>
                  </a:cubicBezTo>
                  <a:cubicBezTo>
                    <a:pt x="90" y="299"/>
                    <a:pt x="92" y="314"/>
                    <a:pt x="94" y="323"/>
                  </a:cubicBezTo>
                  <a:cubicBezTo>
                    <a:pt x="99" y="338"/>
                    <a:pt x="108" y="345"/>
                    <a:pt x="122" y="345"/>
                  </a:cubicBezTo>
                  <a:cubicBezTo>
                    <a:pt x="134" y="345"/>
                    <a:pt x="143" y="339"/>
                    <a:pt x="149" y="326"/>
                  </a:cubicBezTo>
                  <a:cubicBezTo>
                    <a:pt x="154" y="314"/>
                    <a:pt x="157" y="299"/>
                    <a:pt x="157" y="281"/>
                  </a:cubicBezTo>
                  <a:cubicBezTo>
                    <a:pt x="157" y="273"/>
                    <a:pt x="157" y="273"/>
                    <a:pt x="157" y="273"/>
                  </a:cubicBezTo>
                  <a:cubicBezTo>
                    <a:pt x="176" y="273"/>
                    <a:pt x="176" y="273"/>
                    <a:pt x="176" y="273"/>
                  </a:cubicBezTo>
                  <a:cubicBezTo>
                    <a:pt x="176" y="284"/>
                    <a:pt x="176" y="284"/>
                    <a:pt x="176" y="284"/>
                  </a:cubicBezTo>
                  <a:cubicBezTo>
                    <a:pt x="176" y="310"/>
                    <a:pt x="170" y="331"/>
                    <a:pt x="159" y="347"/>
                  </a:cubicBezTo>
                  <a:cubicBezTo>
                    <a:pt x="148" y="362"/>
                    <a:pt x="131" y="369"/>
                    <a:pt x="108" y="369"/>
                  </a:cubicBezTo>
                  <a:cubicBezTo>
                    <a:pt x="85" y="369"/>
                    <a:pt x="69" y="363"/>
                    <a:pt x="58" y="350"/>
                  </a:cubicBezTo>
                  <a:cubicBezTo>
                    <a:pt x="50" y="340"/>
                    <a:pt x="45" y="329"/>
                    <a:pt x="43" y="315"/>
                  </a:cubicBezTo>
                  <a:cubicBezTo>
                    <a:pt x="42" y="305"/>
                    <a:pt x="42" y="293"/>
                    <a:pt x="42" y="278"/>
                  </a:cubicBezTo>
                  <a:cubicBezTo>
                    <a:pt x="42" y="119"/>
                    <a:pt x="42" y="119"/>
                    <a:pt x="42" y="119"/>
                  </a:cubicBezTo>
                  <a:cubicBezTo>
                    <a:pt x="0" y="119"/>
                    <a:pt x="0" y="119"/>
                    <a:pt x="0" y="119"/>
                  </a:cubicBezTo>
                  <a:cubicBezTo>
                    <a:pt x="0" y="103"/>
                    <a:pt x="0" y="103"/>
                    <a:pt x="0" y="103"/>
                  </a:cubicBezTo>
                  <a:cubicBezTo>
                    <a:pt x="27" y="97"/>
                    <a:pt x="45" y="86"/>
                    <a:pt x="54" y="72"/>
                  </a:cubicBezTo>
                  <a:cubicBezTo>
                    <a:pt x="64" y="57"/>
                    <a:pt x="71" y="33"/>
                    <a:pt x="74" y="0"/>
                  </a:cubicBezTo>
                  <a:cubicBezTo>
                    <a:pt x="90" y="0"/>
                    <a:pt x="90" y="0"/>
                    <a:pt x="90" y="0"/>
                  </a:cubicBezTo>
                  <a:cubicBezTo>
                    <a:pt x="90" y="100"/>
                    <a:pt x="90" y="100"/>
                    <a:pt x="90" y="100"/>
                  </a:cubicBezTo>
                  <a:cubicBezTo>
                    <a:pt x="167" y="100"/>
                    <a:pt x="167" y="100"/>
                    <a:pt x="167" y="100"/>
                  </a:cubicBezTo>
                  <a:cubicBezTo>
                    <a:pt x="167" y="119"/>
                    <a:pt x="167" y="119"/>
                    <a:pt x="167" y="119"/>
                  </a:cubicBezTo>
                  <a:lnTo>
                    <a:pt x="90"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14"/>
            <p:cNvSpPr>
              <a:spLocks noEditPoints="1"/>
            </p:cNvSpPr>
            <p:nvPr userDrawn="1"/>
          </p:nvSpPr>
          <p:spPr bwMode="auto">
            <a:xfrm>
              <a:off x="3238500" y="5713413"/>
              <a:ext cx="344488" cy="460375"/>
            </a:xfrm>
            <a:custGeom>
              <a:avLst/>
              <a:gdLst>
                <a:gd name="T0" fmla="*/ 210 w 210"/>
                <a:gd name="T1" fmla="*/ 138 h 280"/>
                <a:gd name="T2" fmla="*/ 53 w 210"/>
                <a:gd name="T3" fmla="*/ 138 h 280"/>
                <a:gd name="T4" fmla="*/ 65 w 210"/>
                <a:gd name="T5" fmla="*/ 220 h 280"/>
                <a:gd name="T6" fmla="*/ 119 w 210"/>
                <a:gd name="T7" fmla="*/ 257 h 280"/>
                <a:gd name="T8" fmla="*/ 168 w 210"/>
                <a:gd name="T9" fmla="*/ 234 h 280"/>
                <a:gd name="T10" fmla="*/ 190 w 210"/>
                <a:gd name="T11" fmla="*/ 198 h 280"/>
                <a:gd name="T12" fmla="*/ 207 w 210"/>
                <a:gd name="T13" fmla="*/ 207 h 280"/>
                <a:gd name="T14" fmla="*/ 110 w 210"/>
                <a:gd name="T15" fmla="*/ 280 h 280"/>
                <a:gd name="T16" fmla="*/ 36 w 210"/>
                <a:gd name="T17" fmla="*/ 249 h 280"/>
                <a:gd name="T18" fmla="*/ 0 w 210"/>
                <a:gd name="T19" fmla="*/ 138 h 280"/>
                <a:gd name="T20" fmla="*/ 36 w 210"/>
                <a:gd name="T21" fmla="*/ 31 h 280"/>
                <a:gd name="T22" fmla="*/ 104 w 210"/>
                <a:gd name="T23" fmla="*/ 0 h 280"/>
                <a:gd name="T24" fmla="*/ 193 w 210"/>
                <a:gd name="T25" fmla="*/ 59 h 280"/>
                <a:gd name="T26" fmla="*/ 210 w 210"/>
                <a:gd name="T27" fmla="*/ 138 h 280"/>
                <a:gd name="T28" fmla="*/ 157 w 210"/>
                <a:gd name="T29" fmla="*/ 118 h 280"/>
                <a:gd name="T30" fmla="*/ 150 w 210"/>
                <a:gd name="T31" fmla="*/ 60 h 280"/>
                <a:gd name="T32" fmla="*/ 107 w 210"/>
                <a:gd name="T33" fmla="*/ 20 h 280"/>
                <a:gd name="T34" fmla="*/ 60 w 210"/>
                <a:gd name="T35" fmla="*/ 69 h 280"/>
                <a:gd name="T36" fmla="*/ 54 w 210"/>
                <a:gd name="T37" fmla="*/ 118 h 280"/>
                <a:gd name="T38" fmla="*/ 157 w 210"/>
                <a:gd name="T39"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80">
                  <a:moveTo>
                    <a:pt x="210" y="138"/>
                  </a:moveTo>
                  <a:cubicBezTo>
                    <a:pt x="53" y="138"/>
                    <a:pt x="53" y="138"/>
                    <a:pt x="53" y="138"/>
                  </a:cubicBezTo>
                  <a:cubicBezTo>
                    <a:pt x="54" y="175"/>
                    <a:pt x="58" y="202"/>
                    <a:pt x="65" y="220"/>
                  </a:cubicBezTo>
                  <a:cubicBezTo>
                    <a:pt x="75" y="245"/>
                    <a:pt x="93" y="257"/>
                    <a:pt x="119" y="257"/>
                  </a:cubicBezTo>
                  <a:cubicBezTo>
                    <a:pt x="139" y="257"/>
                    <a:pt x="155" y="249"/>
                    <a:pt x="168" y="234"/>
                  </a:cubicBezTo>
                  <a:cubicBezTo>
                    <a:pt x="176" y="225"/>
                    <a:pt x="183" y="213"/>
                    <a:pt x="190" y="198"/>
                  </a:cubicBezTo>
                  <a:cubicBezTo>
                    <a:pt x="207" y="207"/>
                    <a:pt x="207" y="207"/>
                    <a:pt x="207" y="207"/>
                  </a:cubicBezTo>
                  <a:cubicBezTo>
                    <a:pt x="183" y="256"/>
                    <a:pt x="151" y="280"/>
                    <a:pt x="110" y="280"/>
                  </a:cubicBezTo>
                  <a:cubicBezTo>
                    <a:pt x="80" y="280"/>
                    <a:pt x="55" y="269"/>
                    <a:pt x="36" y="249"/>
                  </a:cubicBezTo>
                  <a:cubicBezTo>
                    <a:pt x="12" y="223"/>
                    <a:pt x="0" y="186"/>
                    <a:pt x="0" y="138"/>
                  </a:cubicBezTo>
                  <a:cubicBezTo>
                    <a:pt x="0" y="94"/>
                    <a:pt x="12" y="58"/>
                    <a:pt x="36" y="31"/>
                  </a:cubicBezTo>
                  <a:cubicBezTo>
                    <a:pt x="55" y="10"/>
                    <a:pt x="77" y="0"/>
                    <a:pt x="104" y="0"/>
                  </a:cubicBezTo>
                  <a:cubicBezTo>
                    <a:pt x="143" y="0"/>
                    <a:pt x="173" y="19"/>
                    <a:pt x="193" y="59"/>
                  </a:cubicBezTo>
                  <a:cubicBezTo>
                    <a:pt x="203" y="80"/>
                    <a:pt x="209" y="106"/>
                    <a:pt x="210" y="138"/>
                  </a:cubicBezTo>
                  <a:close/>
                  <a:moveTo>
                    <a:pt x="157" y="118"/>
                  </a:moveTo>
                  <a:cubicBezTo>
                    <a:pt x="157" y="94"/>
                    <a:pt x="155" y="75"/>
                    <a:pt x="150" y="60"/>
                  </a:cubicBezTo>
                  <a:cubicBezTo>
                    <a:pt x="141" y="33"/>
                    <a:pt x="126" y="20"/>
                    <a:pt x="107" y="20"/>
                  </a:cubicBezTo>
                  <a:cubicBezTo>
                    <a:pt x="85" y="20"/>
                    <a:pt x="69" y="36"/>
                    <a:pt x="60" y="69"/>
                  </a:cubicBezTo>
                  <a:cubicBezTo>
                    <a:pt x="56" y="82"/>
                    <a:pt x="54" y="99"/>
                    <a:pt x="54" y="118"/>
                  </a:cubicBezTo>
                  <a:lnTo>
                    <a:pt x="157"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p:cNvSpPr>
              <a:spLocks/>
            </p:cNvSpPr>
            <p:nvPr userDrawn="1"/>
          </p:nvSpPr>
          <p:spPr bwMode="auto">
            <a:xfrm>
              <a:off x="3616325" y="5716588"/>
              <a:ext cx="649288" cy="442913"/>
            </a:xfrm>
            <a:custGeom>
              <a:avLst/>
              <a:gdLst>
                <a:gd name="T0" fmla="*/ 312 w 396"/>
                <a:gd name="T1" fmla="*/ 270 h 270"/>
                <a:gd name="T2" fmla="*/ 312 w 396"/>
                <a:gd name="T3" fmla="*/ 108 h 270"/>
                <a:gd name="T4" fmla="*/ 305 w 396"/>
                <a:gd name="T5" fmla="*/ 44 h 270"/>
                <a:gd name="T6" fmla="*/ 275 w 396"/>
                <a:gd name="T7" fmla="*/ 25 h 270"/>
                <a:gd name="T8" fmla="*/ 236 w 396"/>
                <a:gd name="T9" fmla="*/ 52 h 270"/>
                <a:gd name="T10" fmla="*/ 225 w 396"/>
                <a:gd name="T11" fmla="*/ 84 h 270"/>
                <a:gd name="T12" fmla="*/ 223 w 396"/>
                <a:gd name="T13" fmla="*/ 134 h 270"/>
                <a:gd name="T14" fmla="*/ 223 w 396"/>
                <a:gd name="T15" fmla="*/ 205 h 270"/>
                <a:gd name="T16" fmla="*/ 230 w 396"/>
                <a:gd name="T17" fmla="*/ 245 h 270"/>
                <a:gd name="T18" fmla="*/ 252 w 396"/>
                <a:gd name="T19" fmla="*/ 252 h 270"/>
                <a:gd name="T20" fmla="*/ 261 w 396"/>
                <a:gd name="T21" fmla="*/ 252 h 270"/>
                <a:gd name="T22" fmla="*/ 261 w 396"/>
                <a:gd name="T23" fmla="*/ 270 h 270"/>
                <a:gd name="T24" fmla="*/ 175 w 396"/>
                <a:gd name="T25" fmla="*/ 270 h 270"/>
                <a:gd name="T26" fmla="*/ 175 w 396"/>
                <a:gd name="T27" fmla="*/ 117 h 270"/>
                <a:gd name="T28" fmla="*/ 173 w 396"/>
                <a:gd name="T29" fmla="*/ 66 h 270"/>
                <a:gd name="T30" fmla="*/ 137 w 396"/>
                <a:gd name="T31" fmla="*/ 25 h 270"/>
                <a:gd name="T32" fmla="*/ 99 w 396"/>
                <a:gd name="T33" fmla="*/ 53 h 270"/>
                <a:gd name="T34" fmla="*/ 89 w 396"/>
                <a:gd name="T35" fmla="*/ 81 h 270"/>
                <a:gd name="T36" fmla="*/ 86 w 396"/>
                <a:gd name="T37" fmla="*/ 134 h 270"/>
                <a:gd name="T38" fmla="*/ 86 w 396"/>
                <a:gd name="T39" fmla="*/ 205 h 270"/>
                <a:gd name="T40" fmla="*/ 93 w 396"/>
                <a:gd name="T41" fmla="*/ 245 h 270"/>
                <a:gd name="T42" fmla="*/ 116 w 396"/>
                <a:gd name="T43" fmla="*/ 252 h 270"/>
                <a:gd name="T44" fmla="*/ 124 w 396"/>
                <a:gd name="T45" fmla="*/ 252 h 270"/>
                <a:gd name="T46" fmla="*/ 124 w 396"/>
                <a:gd name="T47" fmla="*/ 270 h 270"/>
                <a:gd name="T48" fmla="*/ 0 w 396"/>
                <a:gd name="T49" fmla="*/ 270 h 270"/>
                <a:gd name="T50" fmla="*/ 0 w 396"/>
                <a:gd name="T51" fmla="*/ 252 h 270"/>
                <a:gd name="T52" fmla="*/ 9 w 396"/>
                <a:gd name="T53" fmla="*/ 252 h 270"/>
                <a:gd name="T54" fmla="*/ 31 w 396"/>
                <a:gd name="T55" fmla="*/ 245 h 270"/>
                <a:gd name="T56" fmla="*/ 38 w 396"/>
                <a:gd name="T57" fmla="*/ 205 h 270"/>
                <a:gd name="T58" fmla="*/ 38 w 396"/>
                <a:gd name="T59" fmla="*/ 69 h 270"/>
                <a:gd name="T60" fmla="*/ 31 w 396"/>
                <a:gd name="T61" fmla="*/ 30 h 270"/>
                <a:gd name="T62" fmla="*/ 9 w 396"/>
                <a:gd name="T63" fmla="*/ 24 h 270"/>
                <a:gd name="T64" fmla="*/ 2 w 396"/>
                <a:gd name="T65" fmla="*/ 24 h 270"/>
                <a:gd name="T66" fmla="*/ 2 w 396"/>
                <a:gd name="T67" fmla="*/ 6 h 270"/>
                <a:gd name="T68" fmla="*/ 83 w 396"/>
                <a:gd name="T69" fmla="*/ 2 h 270"/>
                <a:gd name="T70" fmla="*/ 83 w 396"/>
                <a:gd name="T71" fmla="*/ 49 h 270"/>
                <a:gd name="T72" fmla="*/ 99 w 396"/>
                <a:gd name="T73" fmla="*/ 23 h 270"/>
                <a:gd name="T74" fmla="*/ 150 w 396"/>
                <a:gd name="T75" fmla="*/ 0 h 270"/>
                <a:gd name="T76" fmla="*/ 217 w 396"/>
                <a:gd name="T77" fmla="*/ 52 h 270"/>
                <a:gd name="T78" fmla="*/ 288 w 396"/>
                <a:gd name="T79" fmla="*/ 0 h 270"/>
                <a:gd name="T80" fmla="*/ 346 w 396"/>
                <a:gd name="T81" fmla="*/ 30 h 270"/>
                <a:gd name="T82" fmla="*/ 358 w 396"/>
                <a:gd name="T83" fmla="*/ 66 h 270"/>
                <a:gd name="T84" fmla="*/ 360 w 396"/>
                <a:gd name="T85" fmla="*/ 102 h 270"/>
                <a:gd name="T86" fmla="*/ 360 w 396"/>
                <a:gd name="T87" fmla="*/ 205 h 270"/>
                <a:gd name="T88" fmla="*/ 367 w 396"/>
                <a:gd name="T89" fmla="*/ 245 h 270"/>
                <a:gd name="T90" fmla="*/ 389 w 396"/>
                <a:gd name="T91" fmla="*/ 252 h 270"/>
                <a:gd name="T92" fmla="*/ 396 w 396"/>
                <a:gd name="T93" fmla="*/ 252 h 270"/>
                <a:gd name="T94" fmla="*/ 396 w 396"/>
                <a:gd name="T95" fmla="*/ 270 h 270"/>
                <a:gd name="T96" fmla="*/ 312 w 396"/>
                <a:gd name="T97"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6" h="270">
                  <a:moveTo>
                    <a:pt x="312" y="270"/>
                  </a:moveTo>
                  <a:cubicBezTo>
                    <a:pt x="312" y="108"/>
                    <a:pt x="312" y="108"/>
                    <a:pt x="312" y="108"/>
                  </a:cubicBezTo>
                  <a:cubicBezTo>
                    <a:pt x="312" y="75"/>
                    <a:pt x="309" y="54"/>
                    <a:pt x="305" y="44"/>
                  </a:cubicBezTo>
                  <a:cubicBezTo>
                    <a:pt x="298" y="31"/>
                    <a:pt x="288" y="25"/>
                    <a:pt x="275" y="25"/>
                  </a:cubicBezTo>
                  <a:cubicBezTo>
                    <a:pt x="259" y="25"/>
                    <a:pt x="246" y="34"/>
                    <a:pt x="236" y="52"/>
                  </a:cubicBezTo>
                  <a:cubicBezTo>
                    <a:pt x="231" y="62"/>
                    <a:pt x="227" y="73"/>
                    <a:pt x="225" y="84"/>
                  </a:cubicBezTo>
                  <a:cubicBezTo>
                    <a:pt x="224" y="93"/>
                    <a:pt x="223" y="109"/>
                    <a:pt x="223" y="134"/>
                  </a:cubicBezTo>
                  <a:cubicBezTo>
                    <a:pt x="223" y="205"/>
                    <a:pt x="223" y="205"/>
                    <a:pt x="223" y="205"/>
                  </a:cubicBezTo>
                  <a:cubicBezTo>
                    <a:pt x="223" y="226"/>
                    <a:pt x="226" y="240"/>
                    <a:pt x="230" y="245"/>
                  </a:cubicBezTo>
                  <a:cubicBezTo>
                    <a:pt x="234" y="250"/>
                    <a:pt x="242" y="252"/>
                    <a:pt x="252" y="252"/>
                  </a:cubicBezTo>
                  <a:cubicBezTo>
                    <a:pt x="261" y="252"/>
                    <a:pt x="261" y="252"/>
                    <a:pt x="261" y="252"/>
                  </a:cubicBezTo>
                  <a:cubicBezTo>
                    <a:pt x="261" y="270"/>
                    <a:pt x="261" y="270"/>
                    <a:pt x="261" y="270"/>
                  </a:cubicBezTo>
                  <a:cubicBezTo>
                    <a:pt x="175" y="270"/>
                    <a:pt x="175" y="270"/>
                    <a:pt x="175" y="270"/>
                  </a:cubicBezTo>
                  <a:cubicBezTo>
                    <a:pt x="175" y="117"/>
                    <a:pt x="175" y="117"/>
                    <a:pt x="175" y="117"/>
                  </a:cubicBezTo>
                  <a:cubicBezTo>
                    <a:pt x="175" y="91"/>
                    <a:pt x="174" y="74"/>
                    <a:pt x="173" y="66"/>
                  </a:cubicBezTo>
                  <a:cubicBezTo>
                    <a:pt x="169" y="39"/>
                    <a:pt x="157" y="25"/>
                    <a:pt x="137" y="25"/>
                  </a:cubicBezTo>
                  <a:cubicBezTo>
                    <a:pt x="121" y="25"/>
                    <a:pt x="108" y="34"/>
                    <a:pt x="99" y="53"/>
                  </a:cubicBezTo>
                  <a:cubicBezTo>
                    <a:pt x="94" y="62"/>
                    <a:pt x="91" y="71"/>
                    <a:pt x="89" y="81"/>
                  </a:cubicBezTo>
                  <a:cubicBezTo>
                    <a:pt x="87" y="91"/>
                    <a:pt x="86" y="108"/>
                    <a:pt x="86" y="134"/>
                  </a:cubicBezTo>
                  <a:cubicBezTo>
                    <a:pt x="86" y="205"/>
                    <a:pt x="86" y="205"/>
                    <a:pt x="86" y="205"/>
                  </a:cubicBezTo>
                  <a:cubicBezTo>
                    <a:pt x="86" y="227"/>
                    <a:pt x="89" y="240"/>
                    <a:pt x="93" y="245"/>
                  </a:cubicBezTo>
                  <a:cubicBezTo>
                    <a:pt x="97" y="250"/>
                    <a:pt x="105" y="252"/>
                    <a:pt x="116" y="252"/>
                  </a:cubicBezTo>
                  <a:cubicBezTo>
                    <a:pt x="124" y="252"/>
                    <a:pt x="124" y="252"/>
                    <a:pt x="124" y="252"/>
                  </a:cubicBezTo>
                  <a:cubicBezTo>
                    <a:pt x="124" y="270"/>
                    <a:pt x="124" y="270"/>
                    <a:pt x="124" y="270"/>
                  </a:cubicBezTo>
                  <a:cubicBezTo>
                    <a:pt x="0" y="270"/>
                    <a:pt x="0" y="270"/>
                    <a:pt x="0" y="270"/>
                  </a:cubicBezTo>
                  <a:cubicBezTo>
                    <a:pt x="0" y="252"/>
                    <a:pt x="0" y="252"/>
                    <a:pt x="0" y="252"/>
                  </a:cubicBezTo>
                  <a:cubicBezTo>
                    <a:pt x="9" y="252"/>
                    <a:pt x="9" y="252"/>
                    <a:pt x="9" y="252"/>
                  </a:cubicBezTo>
                  <a:cubicBezTo>
                    <a:pt x="19" y="252"/>
                    <a:pt x="27" y="250"/>
                    <a:pt x="31" y="245"/>
                  </a:cubicBezTo>
                  <a:cubicBezTo>
                    <a:pt x="36" y="240"/>
                    <a:pt x="38" y="226"/>
                    <a:pt x="38" y="205"/>
                  </a:cubicBezTo>
                  <a:cubicBezTo>
                    <a:pt x="38" y="69"/>
                    <a:pt x="38" y="69"/>
                    <a:pt x="38" y="69"/>
                  </a:cubicBezTo>
                  <a:cubicBezTo>
                    <a:pt x="38" y="49"/>
                    <a:pt x="36" y="36"/>
                    <a:pt x="31" y="30"/>
                  </a:cubicBezTo>
                  <a:cubicBezTo>
                    <a:pt x="27" y="26"/>
                    <a:pt x="19" y="24"/>
                    <a:pt x="9" y="24"/>
                  </a:cubicBezTo>
                  <a:cubicBezTo>
                    <a:pt x="2" y="24"/>
                    <a:pt x="2" y="24"/>
                    <a:pt x="2" y="24"/>
                  </a:cubicBezTo>
                  <a:cubicBezTo>
                    <a:pt x="2" y="6"/>
                    <a:pt x="2" y="6"/>
                    <a:pt x="2" y="6"/>
                  </a:cubicBezTo>
                  <a:cubicBezTo>
                    <a:pt x="83" y="2"/>
                    <a:pt x="83" y="2"/>
                    <a:pt x="83" y="2"/>
                  </a:cubicBezTo>
                  <a:cubicBezTo>
                    <a:pt x="83" y="49"/>
                    <a:pt x="83" y="49"/>
                    <a:pt x="83" y="49"/>
                  </a:cubicBezTo>
                  <a:cubicBezTo>
                    <a:pt x="87" y="39"/>
                    <a:pt x="92" y="31"/>
                    <a:pt x="99" y="23"/>
                  </a:cubicBezTo>
                  <a:cubicBezTo>
                    <a:pt x="113" y="8"/>
                    <a:pt x="130" y="0"/>
                    <a:pt x="150" y="0"/>
                  </a:cubicBezTo>
                  <a:cubicBezTo>
                    <a:pt x="181" y="0"/>
                    <a:pt x="203" y="18"/>
                    <a:pt x="217" y="52"/>
                  </a:cubicBezTo>
                  <a:cubicBezTo>
                    <a:pt x="234" y="18"/>
                    <a:pt x="257" y="0"/>
                    <a:pt x="288" y="0"/>
                  </a:cubicBezTo>
                  <a:cubicBezTo>
                    <a:pt x="314" y="0"/>
                    <a:pt x="333" y="10"/>
                    <a:pt x="346" y="30"/>
                  </a:cubicBezTo>
                  <a:cubicBezTo>
                    <a:pt x="353" y="41"/>
                    <a:pt x="357" y="53"/>
                    <a:pt x="358" y="66"/>
                  </a:cubicBezTo>
                  <a:cubicBezTo>
                    <a:pt x="359" y="77"/>
                    <a:pt x="360" y="89"/>
                    <a:pt x="360" y="102"/>
                  </a:cubicBezTo>
                  <a:cubicBezTo>
                    <a:pt x="360" y="205"/>
                    <a:pt x="360" y="205"/>
                    <a:pt x="360" y="205"/>
                  </a:cubicBezTo>
                  <a:cubicBezTo>
                    <a:pt x="360" y="226"/>
                    <a:pt x="362" y="240"/>
                    <a:pt x="367" y="245"/>
                  </a:cubicBezTo>
                  <a:cubicBezTo>
                    <a:pt x="371" y="250"/>
                    <a:pt x="378" y="252"/>
                    <a:pt x="389" y="252"/>
                  </a:cubicBezTo>
                  <a:cubicBezTo>
                    <a:pt x="396" y="252"/>
                    <a:pt x="396" y="252"/>
                    <a:pt x="396" y="252"/>
                  </a:cubicBezTo>
                  <a:cubicBezTo>
                    <a:pt x="396" y="270"/>
                    <a:pt x="396" y="270"/>
                    <a:pt x="396" y="270"/>
                  </a:cubicBezTo>
                  <a:lnTo>
                    <a:pt x="312" y="2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p:cNvSpPr>
              <a:spLocks/>
            </p:cNvSpPr>
            <p:nvPr userDrawn="1"/>
          </p:nvSpPr>
          <p:spPr bwMode="auto">
            <a:xfrm>
              <a:off x="4308475" y="5716588"/>
              <a:ext cx="301625" cy="452438"/>
            </a:xfrm>
            <a:custGeom>
              <a:avLst/>
              <a:gdLst>
                <a:gd name="T0" fmla="*/ 168 w 184"/>
                <a:gd name="T1" fmla="*/ 6 h 275"/>
                <a:gd name="T2" fmla="*/ 168 w 184"/>
                <a:gd name="T3" fmla="*/ 89 h 275"/>
                <a:gd name="T4" fmla="*/ 151 w 184"/>
                <a:gd name="T5" fmla="*/ 89 h 275"/>
                <a:gd name="T6" fmla="*/ 84 w 184"/>
                <a:gd name="T7" fmla="*/ 17 h 275"/>
                <a:gd name="T8" fmla="*/ 53 w 184"/>
                <a:gd name="T9" fmla="*/ 28 h 275"/>
                <a:gd name="T10" fmla="*/ 41 w 184"/>
                <a:gd name="T11" fmla="*/ 57 h 275"/>
                <a:gd name="T12" fmla="*/ 58 w 184"/>
                <a:gd name="T13" fmla="*/ 88 h 275"/>
                <a:gd name="T14" fmla="*/ 88 w 184"/>
                <a:gd name="T15" fmla="*/ 101 h 275"/>
                <a:gd name="T16" fmla="*/ 152 w 184"/>
                <a:gd name="T17" fmla="*/ 128 h 275"/>
                <a:gd name="T18" fmla="*/ 184 w 184"/>
                <a:gd name="T19" fmla="*/ 191 h 275"/>
                <a:gd name="T20" fmla="*/ 156 w 184"/>
                <a:gd name="T21" fmla="*/ 255 h 275"/>
                <a:gd name="T22" fmla="*/ 98 w 184"/>
                <a:gd name="T23" fmla="*/ 275 h 275"/>
                <a:gd name="T24" fmla="*/ 59 w 184"/>
                <a:gd name="T25" fmla="*/ 268 h 275"/>
                <a:gd name="T26" fmla="*/ 33 w 184"/>
                <a:gd name="T27" fmla="*/ 254 h 275"/>
                <a:gd name="T28" fmla="*/ 26 w 184"/>
                <a:gd name="T29" fmla="*/ 252 h 275"/>
                <a:gd name="T30" fmla="*/ 16 w 184"/>
                <a:gd name="T31" fmla="*/ 270 h 275"/>
                <a:gd name="T32" fmla="*/ 0 w 184"/>
                <a:gd name="T33" fmla="*/ 270 h 275"/>
                <a:gd name="T34" fmla="*/ 0 w 184"/>
                <a:gd name="T35" fmla="*/ 172 h 275"/>
                <a:gd name="T36" fmla="*/ 16 w 184"/>
                <a:gd name="T37" fmla="*/ 172 h 275"/>
                <a:gd name="T38" fmla="*/ 37 w 184"/>
                <a:gd name="T39" fmla="*/ 224 h 275"/>
                <a:gd name="T40" fmla="*/ 63 w 184"/>
                <a:gd name="T41" fmla="*/ 248 h 275"/>
                <a:gd name="T42" fmla="*/ 97 w 184"/>
                <a:gd name="T43" fmla="*/ 257 h 275"/>
                <a:gd name="T44" fmla="*/ 131 w 184"/>
                <a:gd name="T45" fmla="*/ 242 h 275"/>
                <a:gd name="T46" fmla="*/ 144 w 184"/>
                <a:gd name="T47" fmla="*/ 210 h 275"/>
                <a:gd name="T48" fmla="*/ 120 w 184"/>
                <a:gd name="T49" fmla="*/ 170 h 275"/>
                <a:gd name="T50" fmla="*/ 69 w 184"/>
                <a:gd name="T51" fmla="*/ 149 h 275"/>
                <a:gd name="T52" fmla="*/ 28 w 184"/>
                <a:gd name="T53" fmla="*/ 128 h 275"/>
                <a:gd name="T54" fmla="*/ 2 w 184"/>
                <a:gd name="T55" fmla="*/ 72 h 275"/>
                <a:gd name="T56" fmla="*/ 26 w 184"/>
                <a:gd name="T57" fmla="*/ 19 h 275"/>
                <a:gd name="T58" fmla="*/ 80 w 184"/>
                <a:gd name="T59" fmla="*/ 0 h 275"/>
                <a:gd name="T60" fmla="*/ 134 w 184"/>
                <a:gd name="T61" fmla="*/ 16 h 275"/>
                <a:gd name="T62" fmla="*/ 142 w 184"/>
                <a:gd name="T63" fmla="*/ 19 h 275"/>
                <a:gd name="T64" fmla="*/ 151 w 184"/>
                <a:gd name="T65" fmla="*/ 6 h 275"/>
                <a:gd name="T66" fmla="*/ 168 w 184"/>
                <a:gd name="T67" fmla="*/ 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75">
                  <a:moveTo>
                    <a:pt x="168" y="6"/>
                  </a:moveTo>
                  <a:cubicBezTo>
                    <a:pt x="168" y="89"/>
                    <a:pt x="168" y="89"/>
                    <a:pt x="168" y="89"/>
                  </a:cubicBezTo>
                  <a:cubicBezTo>
                    <a:pt x="151" y="89"/>
                    <a:pt x="151" y="89"/>
                    <a:pt x="151" y="89"/>
                  </a:cubicBezTo>
                  <a:cubicBezTo>
                    <a:pt x="141" y="41"/>
                    <a:pt x="119" y="17"/>
                    <a:pt x="84" y="17"/>
                  </a:cubicBezTo>
                  <a:cubicBezTo>
                    <a:pt x="71" y="17"/>
                    <a:pt x="61" y="21"/>
                    <a:pt x="53" y="28"/>
                  </a:cubicBezTo>
                  <a:cubicBezTo>
                    <a:pt x="45" y="36"/>
                    <a:pt x="41" y="46"/>
                    <a:pt x="41" y="57"/>
                  </a:cubicBezTo>
                  <a:cubicBezTo>
                    <a:pt x="41" y="70"/>
                    <a:pt x="46" y="80"/>
                    <a:pt x="58" y="88"/>
                  </a:cubicBezTo>
                  <a:cubicBezTo>
                    <a:pt x="63" y="92"/>
                    <a:pt x="74" y="96"/>
                    <a:pt x="88" y="101"/>
                  </a:cubicBezTo>
                  <a:cubicBezTo>
                    <a:pt x="120" y="111"/>
                    <a:pt x="142" y="120"/>
                    <a:pt x="152" y="128"/>
                  </a:cubicBezTo>
                  <a:cubicBezTo>
                    <a:pt x="173" y="144"/>
                    <a:pt x="184" y="165"/>
                    <a:pt x="184" y="191"/>
                  </a:cubicBezTo>
                  <a:cubicBezTo>
                    <a:pt x="184" y="217"/>
                    <a:pt x="175" y="238"/>
                    <a:pt x="156" y="255"/>
                  </a:cubicBezTo>
                  <a:cubicBezTo>
                    <a:pt x="141" y="269"/>
                    <a:pt x="121" y="275"/>
                    <a:pt x="98" y="275"/>
                  </a:cubicBezTo>
                  <a:cubicBezTo>
                    <a:pt x="84" y="275"/>
                    <a:pt x="71" y="273"/>
                    <a:pt x="59" y="268"/>
                  </a:cubicBezTo>
                  <a:cubicBezTo>
                    <a:pt x="55" y="266"/>
                    <a:pt x="46" y="262"/>
                    <a:pt x="33" y="254"/>
                  </a:cubicBezTo>
                  <a:cubicBezTo>
                    <a:pt x="31" y="253"/>
                    <a:pt x="28" y="252"/>
                    <a:pt x="26" y="252"/>
                  </a:cubicBezTo>
                  <a:cubicBezTo>
                    <a:pt x="23" y="252"/>
                    <a:pt x="19" y="258"/>
                    <a:pt x="16" y="270"/>
                  </a:cubicBezTo>
                  <a:cubicBezTo>
                    <a:pt x="0" y="270"/>
                    <a:pt x="0" y="270"/>
                    <a:pt x="0" y="270"/>
                  </a:cubicBezTo>
                  <a:cubicBezTo>
                    <a:pt x="0" y="172"/>
                    <a:pt x="0" y="172"/>
                    <a:pt x="0" y="172"/>
                  </a:cubicBezTo>
                  <a:cubicBezTo>
                    <a:pt x="16" y="172"/>
                    <a:pt x="16" y="172"/>
                    <a:pt x="16" y="172"/>
                  </a:cubicBezTo>
                  <a:cubicBezTo>
                    <a:pt x="22" y="196"/>
                    <a:pt x="29" y="214"/>
                    <a:pt x="37" y="224"/>
                  </a:cubicBezTo>
                  <a:cubicBezTo>
                    <a:pt x="44" y="234"/>
                    <a:pt x="52" y="242"/>
                    <a:pt x="63" y="248"/>
                  </a:cubicBezTo>
                  <a:cubicBezTo>
                    <a:pt x="74" y="254"/>
                    <a:pt x="85" y="257"/>
                    <a:pt x="97" y="257"/>
                  </a:cubicBezTo>
                  <a:cubicBezTo>
                    <a:pt x="112" y="257"/>
                    <a:pt x="123" y="252"/>
                    <a:pt x="131" y="242"/>
                  </a:cubicBezTo>
                  <a:cubicBezTo>
                    <a:pt x="139" y="233"/>
                    <a:pt x="144" y="222"/>
                    <a:pt x="144" y="210"/>
                  </a:cubicBezTo>
                  <a:cubicBezTo>
                    <a:pt x="144" y="193"/>
                    <a:pt x="136" y="179"/>
                    <a:pt x="120" y="170"/>
                  </a:cubicBezTo>
                  <a:cubicBezTo>
                    <a:pt x="112" y="164"/>
                    <a:pt x="95" y="158"/>
                    <a:pt x="69" y="149"/>
                  </a:cubicBezTo>
                  <a:cubicBezTo>
                    <a:pt x="52" y="144"/>
                    <a:pt x="39" y="137"/>
                    <a:pt x="28" y="128"/>
                  </a:cubicBezTo>
                  <a:cubicBezTo>
                    <a:pt x="11" y="115"/>
                    <a:pt x="2" y="97"/>
                    <a:pt x="2" y="72"/>
                  </a:cubicBezTo>
                  <a:cubicBezTo>
                    <a:pt x="2" y="50"/>
                    <a:pt x="10" y="32"/>
                    <a:pt x="26" y="19"/>
                  </a:cubicBezTo>
                  <a:cubicBezTo>
                    <a:pt x="40" y="6"/>
                    <a:pt x="58" y="0"/>
                    <a:pt x="80" y="0"/>
                  </a:cubicBezTo>
                  <a:cubicBezTo>
                    <a:pt x="99" y="0"/>
                    <a:pt x="117" y="5"/>
                    <a:pt x="134" y="16"/>
                  </a:cubicBezTo>
                  <a:cubicBezTo>
                    <a:pt x="138" y="18"/>
                    <a:pt x="140" y="19"/>
                    <a:pt x="142" y="19"/>
                  </a:cubicBezTo>
                  <a:cubicBezTo>
                    <a:pt x="146" y="19"/>
                    <a:pt x="149" y="14"/>
                    <a:pt x="151" y="6"/>
                  </a:cubicBezTo>
                  <a:lnTo>
                    <a:pt x="16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p:cNvSpPr>
              <a:spLocks/>
            </p:cNvSpPr>
            <p:nvPr userDrawn="1"/>
          </p:nvSpPr>
          <p:spPr bwMode="auto">
            <a:xfrm>
              <a:off x="4710113" y="5807075"/>
              <a:ext cx="131763" cy="133350"/>
            </a:xfrm>
            <a:custGeom>
              <a:avLst/>
              <a:gdLst>
                <a:gd name="T0" fmla="*/ 0 w 83"/>
                <a:gd name="T1" fmla="*/ 84 h 84"/>
                <a:gd name="T2" fmla="*/ 0 w 83"/>
                <a:gd name="T3" fmla="*/ 0 h 84"/>
                <a:gd name="T4" fmla="*/ 46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6"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226532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vertical righ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4" name="think-cell Folie" r:id="rId5" imgW="360" imgH="360" progId="TCLayout.ActiveDocument.1">
                  <p:embed/>
                </p:oleObj>
              </mc:Choice>
              <mc:Fallback>
                <p:oleObj name="think-cell Folie" r:id="rId5" imgW="360" imgH="360" progId="TCLayout.ActiveDocument.1">
                  <p:embed/>
                  <p:pic>
                    <p:nvPicPr>
                      <p:cNvPr id="2" name="Objek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hteck 6"/>
          <p:cNvSpPr/>
          <p:nvPr userDrawn="1"/>
        </p:nvSpPr>
        <p:spPr bwMode="white">
          <a:xfrm>
            <a:off x="5762624" y="0"/>
            <a:ext cx="5761038" cy="6480175"/>
          </a:xfrm>
          <a:prstGeom prst="rect">
            <a:avLst/>
          </a:prstGeom>
          <a:solidFill>
            <a:schemeClr val="tx2"/>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en-US" sz="1800" dirty="0" smtClean="0">
              <a:cs typeface="Arial" charset="0"/>
            </a:endParaRPr>
          </a:p>
        </p:txBody>
      </p:sp>
      <p:sp>
        <p:nvSpPr>
          <p:cNvPr id="6" name="Titelplatzhalter 1"/>
          <p:cNvSpPr>
            <a:spLocks noGrp="1"/>
          </p:cNvSpPr>
          <p:nvPr>
            <p:ph type="ctrTitle" hasCustomPrompt="1"/>
          </p:nvPr>
        </p:nvSpPr>
        <p:spPr bwMode="black">
          <a:xfrm>
            <a:off x="6086475" y="323850"/>
            <a:ext cx="5113337" cy="2492990"/>
          </a:xfrm>
          <a:noFill/>
        </p:spPr>
        <p:txBody>
          <a:bodyPr wrap="square" lIns="0" tIns="0">
            <a:noAutofit/>
          </a:bodyPr>
          <a:lstStyle>
            <a:lvl1pPr>
              <a:defRPr sz="6000" smtClean="0">
                <a:solidFill>
                  <a:schemeClr val="bg1"/>
                </a:solidFill>
                <a:latin typeface="TeleGrotesk Headline Ultra" pitchFamily="2" charset="0"/>
              </a:defRPr>
            </a:lvl1pPr>
          </a:lstStyle>
          <a:p>
            <a:r>
              <a:rPr lang="en-US" dirty="0" smtClean="0"/>
              <a:t>Headline Ultra</a:t>
            </a:r>
            <a:br>
              <a:rPr lang="en-US" dirty="0" smtClean="0"/>
            </a:br>
            <a:r>
              <a:rPr lang="en-US" dirty="0" smtClean="0"/>
              <a:t>(60) 75 90 PT</a:t>
            </a:r>
          </a:p>
        </p:txBody>
      </p:sp>
      <p:sp>
        <p:nvSpPr>
          <p:cNvPr id="3" name="Textplatzhalter 2"/>
          <p:cNvSpPr>
            <a:spLocks noGrp="1"/>
          </p:cNvSpPr>
          <p:nvPr>
            <p:ph type="body" sz="quarter" idx="11" hasCustomPrompt="1"/>
          </p:nvPr>
        </p:nvSpPr>
        <p:spPr bwMode="black">
          <a:xfrm>
            <a:off x="6086474" y="3240088"/>
            <a:ext cx="5113338" cy="1008062"/>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en-US" noProof="0" dirty="0" smtClean="0"/>
              <a:t>Sub-heading </a:t>
            </a:r>
            <a:r>
              <a:rPr lang="en-US" dirty="0" smtClean="0"/>
              <a:t>Tele-</a:t>
            </a:r>
            <a:r>
              <a:rPr lang="en-US" dirty="0" err="1" smtClean="0"/>
              <a:t>GroteskFet</a:t>
            </a:r>
            <a:r>
              <a:rPr lang="en-US" dirty="0" smtClean="0"/>
              <a:t> 18 </a:t>
            </a:r>
            <a:r>
              <a:rPr lang="en-US" dirty="0" err="1" smtClean="0"/>
              <a:t>pt</a:t>
            </a:r>
            <a:endParaRPr lang="en-US" dirty="0" smtClean="0"/>
          </a:p>
        </p:txBody>
      </p:sp>
      <p:grpSp>
        <p:nvGrpSpPr>
          <p:cNvPr id="8" name="Gruppieren 7"/>
          <p:cNvGrpSpPr/>
          <p:nvPr userDrawn="1"/>
        </p:nvGrpSpPr>
        <p:grpSpPr>
          <a:xfrm>
            <a:off x="6086475" y="5508625"/>
            <a:ext cx="4518026" cy="820738"/>
            <a:chOff x="6086475" y="5508625"/>
            <a:chExt cx="4518026" cy="820738"/>
          </a:xfrm>
          <a:solidFill>
            <a:schemeClr val="bg1"/>
          </a:solidFill>
        </p:grpSpPr>
        <p:sp>
          <p:nvSpPr>
            <p:cNvPr id="9" name="Freeform 40"/>
            <p:cNvSpPr>
              <a:spLocks/>
            </p:cNvSpPr>
            <p:nvPr userDrawn="1"/>
          </p:nvSpPr>
          <p:spPr bwMode="auto">
            <a:xfrm>
              <a:off x="6086475" y="5807075"/>
              <a:ext cx="131763" cy="133350"/>
            </a:xfrm>
            <a:custGeom>
              <a:avLst/>
              <a:gdLst>
                <a:gd name="T0" fmla="*/ 0 w 83"/>
                <a:gd name="T1" fmla="*/ 84 h 84"/>
                <a:gd name="T2" fmla="*/ 0 w 83"/>
                <a:gd name="T3" fmla="*/ 0 h 84"/>
                <a:gd name="T4" fmla="*/ 40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0"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41"/>
            <p:cNvSpPr>
              <a:spLocks/>
            </p:cNvSpPr>
            <p:nvPr userDrawn="1"/>
          </p:nvSpPr>
          <p:spPr bwMode="auto">
            <a:xfrm>
              <a:off x="6488113" y="5807075"/>
              <a:ext cx="131763" cy="133350"/>
            </a:xfrm>
            <a:custGeom>
              <a:avLst/>
              <a:gdLst>
                <a:gd name="T0" fmla="*/ 0 w 83"/>
                <a:gd name="T1" fmla="*/ 84 h 84"/>
                <a:gd name="T2" fmla="*/ 0 w 83"/>
                <a:gd name="T3" fmla="*/ 0 h 84"/>
                <a:gd name="T4" fmla="*/ 45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5"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42"/>
            <p:cNvSpPr>
              <a:spLocks/>
            </p:cNvSpPr>
            <p:nvPr userDrawn="1"/>
          </p:nvSpPr>
          <p:spPr bwMode="auto">
            <a:xfrm>
              <a:off x="6883400" y="5807075"/>
              <a:ext cx="131763" cy="133350"/>
            </a:xfrm>
            <a:custGeom>
              <a:avLst/>
              <a:gdLst>
                <a:gd name="T0" fmla="*/ 0 w 83"/>
                <a:gd name="T1" fmla="*/ 84 h 84"/>
                <a:gd name="T2" fmla="*/ 0 w 83"/>
                <a:gd name="T3" fmla="*/ 0 h 84"/>
                <a:gd name="T4" fmla="*/ 42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2"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43"/>
            <p:cNvSpPr>
              <a:spLocks/>
            </p:cNvSpPr>
            <p:nvPr userDrawn="1"/>
          </p:nvSpPr>
          <p:spPr bwMode="auto">
            <a:xfrm>
              <a:off x="7277100" y="5807075"/>
              <a:ext cx="133350" cy="133350"/>
            </a:xfrm>
            <a:custGeom>
              <a:avLst/>
              <a:gdLst>
                <a:gd name="T0" fmla="*/ 0 w 84"/>
                <a:gd name="T1" fmla="*/ 84 h 84"/>
                <a:gd name="T2" fmla="*/ 0 w 84"/>
                <a:gd name="T3" fmla="*/ 0 h 84"/>
                <a:gd name="T4" fmla="*/ 39 w 84"/>
                <a:gd name="T5" fmla="*/ 0 h 84"/>
                <a:gd name="T6" fmla="*/ 84 w 84"/>
                <a:gd name="T7" fmla="*/ 0 h 84"/>
                <a:gd name="T8" fmla="*/ 84 w 84"/>
                <a:gd name="T9" fmla="*/ 84 h 84"/>
                <a:gd name="T10" fmla="*/ 0 w 84"/>
                <a:gd name="T11" fmla="*/ 84 h 84"/>
              </a:gdLst>
              <a:ahLst/>
              <a:cxnLst>
                <a:cxn ang="0">
                  <a:pos x="T0" y="T1"/>
                </a:cxn>
                <a:cxn ang="0">
                  <a:pos x="T2" y="T3"/>
                </a:cxn>
                <a:cxn ang="0">
                  <a:pos x="T4" y="T5"/>
                </a:cxn>
                <a:cxn ang="0">
                  <a:pos x="T6" y="T7"/>
                </a:cxn>
                <a:cxn ang="0">
                  <a:pos x="T8" y="T9"/>
                </a:cxn>
                <a:cxn ang="0">
                  <a:pos x="T10" y="T11"/>
                </a:cxn>
              </a:cxnLst>
              <a:rect l="0" t="0" r="r" b="b"/>
              <a:pathLst>
                <a:path w="84" h="84">
                  <a:moveTo>
                    <a:pt x="0" y="84"/>
                  </a:moveTo>
                  <a:lnTo>
                    <a:pt x="0" y="0"/>
                  </a:lnTo>
                  <a:lnTo>
                    <a:pt x="39" y="0"/>
                  </a:lnTo>
                  <a:lnTo>
                    <a:pt x="84" y="0"/>
                  </a:lnTo>
                  <a:lnTo>
                    <a:pt x="84"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44"/>
            <p:cNvSpPr>
              <a:spLocks/>
            </p:cNvSpPr>
            <p:nvPr userDrawn="1"/>
          </p:nvSpPr>
          <p:spPr bwMode="auto">
            <a:xfrm>
              <a:off x="6086475" y="5508625"/>
              <a:ext cx="533400" cy="650875"/>
            </a:xfrm>
            <a:custGeom>
              <a:avLst/>
              <a:gdLst>
                <a:gd name="T0" fmla="*/ 322 w 325"/>
                <a:gd name="T1" fmla="*/ 0 h 397"/>
                <a:gd name="T2" fmla="*/ 4 w 325"/>
                <a:gd name="T3" fmla="*/ 0 h 397"/>
                <a:gd name="T4" fmla="*/ 0 w 325"/>
                <a:gd name="T5" fmla="*/ 140 h 397"/>
                <a:gd name="T6" fmla="*/ 21 w 325"/>
                <a:gd name="T7" fmla="*/ 143 h 397"/>
                <a:gd name="T8" fmla="*/ 54 w 325"/>
                <a:gd name="T9" fmla="*/ 52 h 397"/>
                <a:gd name="T10" fmla="*/ 131 w 325"/>
                <a:gd name="T11" fmla="*/ 19 h 397"/>
                <a:gd name="T12" fmla="*/ 131 w 325"/>
                <a:gd name="T13" fmla="*/ 312 h 397"/>
                <a:gd name="T14" fmla="*/ 120 w 325"/>
                <a:gd name="T15" fmla="*/ 362 h 397"/>
                <a:gd name="T16" fmla="*/ 88 w 325"/>
                <a:gd name="T17" fmla="*/ 374 h 397"/>
                <a:gd name="T18" fmla="*/ 65 w 325"/>
                <a:gd name="T19" fmla="*/ 374 h 397"/>
                <a:gd name="T20" fmla="*/ 65 w 325"/>
                <a:gd name="T21" fmla="*/ 397 h 397"/>
                <a:gd name="T22" fmla="*/ 261 w 325"/>
                <a:gd name="T23" fmla="*/ 397 h 397"/>
                <a:gd name="T24" fmla="*/ 261 w 325"/>
                <a:gd name="T25" fmla="*/ 374 h 397"/>
                <a:gd name="T26" fmla="*/ 238 w 325"/>
                <a:gd name="T27" fmla="*/ 374 h 397"/>
                <a:gd name="T28" fmla="*/ 206 w 325"/>
                <a:gd name="T29" fmla="*/ 362 h 397"/>
                <a:gd name="T30" fmla="*/ 194 w 325"/>
                <a:gd name="T31" fmla="*/ 312 h 397"/>
                <a:gd name="T32" fmla="*/ 194 w 325"/>
                <a:gd name="T33" fmla="*/ 19 h 397"/>
                <a:gd name="T34" fmla="*/ 272 w 325"/>
                <a:gd name="T35" fmla="*/ 52 h 397"/>
                <a:gd name="T36" fmla="*/ 304 w 325"/>
                <a:gd name="T37" fmla="*/ 143 h 397"/>
                <a:gd name="T38" fmla="*/ 325 w 325"/>
                <a:gd name="T39" fmla="*/ 140 h 397"/>
                <a:gd name="T40" fmla="*/ 322 w 325"/>
                <a:gd name="T41"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 h="397">
                  <a:moveTo>
                    <a:pt x="322" y="0"/>
                  </a:moveTo>
                  <a:cubicBezTo>
                    <a:pt x="4" y="0"/>
                    <a:pt x="4" y="0"/>
                    <a:pt x="4" y="0"/>
                  </a:cubicBezTo>
                  <a:cubicBezTo>
                    <a:pt x="0" y="140"/>
                    <a:pt x="0" y="140"/>
                    <a:pt x="0" y="140"/>
                  </a:cubicBezTo>
                  <a:cubicBezTo>
                    <a:pt x="21" y="143"/>
                    <a:pt x="21" y="143"/>
                    <a:pt x="21" y="143"/>
                  </a:cubicBezTo>
                  <a:cubicBezTo>
                    <a:pt x="25" y="102"/>
                    <a:pt x="36" y="72"/>
                    <a:pt x="54" y="52"/>
                  </a:cubicBezTo>
                  <a:cubicBezTo>
                    <a:pt x="72" y="31"/>
                    <a:pt x="98" y="20"/>
                    <a:pt x="131" y="19"/>
                  </a:cubicBezTo>
                  <a:cubicBezTo>
                    <a:pt x="131" y="312"/>
                    <a:pt x="131" y="312"/>
                    <a:pt x="131" y="312"/>
                  </a:cubicBezTo>
                  <a:cubicBezTo>
                    <a:pt x="131" y="337"/>
                    <a:pt x="127" y="354"/>
                    <a:pt x="120" y="362"/>
                  </a:cubicBezTo>
                  <a:cubicBezTo>
                    <a:pt x="114" y="368"/>
                    <a:pt x="103" y="372"/>
                    <a:pt x="88" y="374"/>
                  </a:cubicBezTo>
                  <a:cubicBezTo>
                    <a:pt x="83" y="374"/>
                    <a:pt x="76" y="374"/>
                    <a:pt x="65" y="374"/>
                  </a:cubicBezTo>
                  <a:cubicBezTo>
                    <a:pt x="65" y="397"/>
                    <a:pt x="65" y="397"/>
                    <a:pt x="65" y="397"/>
                  </a:cubicBezTo>
                  <a:cubicBezTo>
                    <a:pt x="261" y="397"/>
                    <a:pt x="261" y="397"/>
                    <a:pt x="261" y="397"/>
                  </a:cubicBezTo>
                  <a:cubicBezTo>
                    <a:pt x="261" y="374"/>
                    <a:pt x="261" y="374"/>
                    <a:pt x="261" y="374"/>
                  </a:cubicBezTo>
                  <a:cubicBezTo>
                    <a:pt x="250" y="374"/>
                    <a:pt x="242" y="374"/>
                    <a:pt x="238" y="374"/>
                  </a:cubicBezTo>
                  <a:cubicBezTo>
                    <a:pt x="223" y="372"/>
                    <a:pt x="212" y="368"/>
                    <a:pt x="206" y="362"/>
                  </a:cubicBezTo>
                  <a:cubicBezTo>
                    <a:pt x="198" y="354"/>
                    <a:pt x="194" y="337"/>
                    <a:pt x="194" y="312"/>
                  </a:cubicBezTo>
                  <a:cubicBezTo>
                    <a:pt x="194" y="19"/>
                    <a:pt x="194" y="19"/>
                    <a:pt x="194" y="19"/>
                  </a:cubicBezTo>
                  <a:cubicBezTo>
                    <a:pt x="228" y="20"/>
                    <a:pt x="253" y="31"/>
                    <a:pt x="272" y="52"/>
                  </a:cubicBezTo>
                  <a:cubicBezTo>
                    <a:pt x="290" y="72"/>
                    <a:pt x="301" y="102"/>
                    <a:pt x="304" y="143"/>
                  </a:cubicBezTo>
                  <a:cubicBezTo>
                    <a:pt x="325" y="140"/>
                    <a:pt x="325" y="140"/>
                    <a:pt x="325" y="140"/>
                  </a:cubicBezTo>
                  <a:lnTo>
                    <a:pt x="3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45"/>
            <p:cNvSpPr>
              <a:spLocks/>
            </p:cNvSpPr>
            <p:nvPr userDrawn="1"/>
          </p:nvSpPr>
          <p:spPr bwMode="auto">
            <a:xfrm>
              <a:off x="7524750" y="5518150"/>
              <a:ext cx="392113" cy="657225"/>
            </a:xfrm>
            <a:custGeom>
              <a:avLst/>
              <a:gdLst>
                <a:gd name="T0" fmla="*/ 202 w 239"/>
                <a:gd name="T1" fmla="*/ 134 h 400"/>
                <a:gd name="T2" fmla="*/ 175 w 239"/>
                <a:gd name="T3" fmla="*/ 59 h 400"/>
                <a:gd name="T4" fmla="*/ 108 w 239"/>
                <a:gd name="T5" fmla="*/ 20 h 400"/>
                <a:gd name="T6" fmla="*/ 66 w 239"/>
                <a:gd name="T7" fmla="*/ 35 h 400"/>
                <a:gd name="T8" fmla="*/ 45 w 239"/>
                <a:gd name="T9" fmla="*/ 84 h 400"/>
                <a:gd name="T10" fmla="*/ 68 w 239"/>
                <a:gd name="T11" fmla="*/ 134 h 400"/>
                <a:gd name="T12" fmla="*/ 120 w 239"/>
                <a:gd name="T13" fmla="*/ 159 h 400"/>
                <a:gd name="T14" fmla="*/ 198 w 239"/>
                <a:gd name="T15" fmla="*/ 193 h 400"/>
                <a:gd name="T16" fmla="*/ 239 w 239"/>
                <a:gd name="T17" fmla="*/ 279 h 400"/>
                <a:gd name="T18" fmla="*/ 205 w 239"/>
                <a:gd name="T19" fmla="*/ 367 h 400"/>
                <a:gd name="T20" fmla="*/ 127 w 239"/>
                <a:gd name="T21" fmla="*/ 400 h 400"/>
                <a:gd name="T22" fmla="*/ 82 w 239"/>
                <a:gd name="T23" fmla="*/ 391 h 400"/>
                <a:gd name="T24" fmla="*/ 52 w 239"/>
                <a:gd name="T25" fmla="*/ 374 h 400"/>
                <a:gd name="T26" fmla="*/ 40 w 239"/>
                <a:gd name="T27" fmla="*/ 370 h 400"/>
                <a:gd name="T28" fmla="*/ 26 w 239"/>
                <a:gd name="T29" fmla="*/ 378 h 400"/>
                <a:gd name="T30" fmla="*/ 18 w 239"/>
                <a:gd name="T31" fmla="*/ 391 h 400"/>
                <a:gd name="T32" fmla="*/ 0 w 239"/>
                <a:gd name="T33" fmla="*/ 391 h 400"/>
                <a:gd name="T34" fmla="*/ 0 w 239"/>
                <a:gd name="T35" fmla="*/ 252 h 400"/>
                <a:gd name="T36" fmla="*/ 19 w 239"/>
                <a:gd name="T37" fmla="*/ 252 h 400"/>
                <a:gd name="T38" fmla="*/ 46 w 239"/>
                <a:gd name="T39" fmla="*/ 332 h 400"/>
                <a:gd name="T40" fmla="*/ 124 w 239"/>
                <a:gd name="T41" fmla="*/ 379 h 400"/>
                <a:gd name="T42" fmla="*/ 171 w 239"/>
                <a:gd name="T43" fmla="*/ 363 h 400"/>
                <a:gd name="T44" fmla="*/ 195 w 239"/>
                <a:gd name="T45" fmla="*/ 304 h 400"/>
                <a:gd name="T46" fmla="*/ 158 w 239"/>
                <a:gd name="T47" fmla="*/ 239 h 400"/>
                <a:gd name="T48" fmla="*/ 94 w 239"/>
                <a:gd name="T49" fmla="*/ 214 h 400"/>
                <a:gd name="T50" fmla="*/ 35 w 239"/>
                <a:gd name="T51" fmla="*/ 183 h 400"/>
                <a:gd name="T52" fmla="*/ 3 w 239"/>
                <a:gd name="T53" fmla="*/ 107 h 400"/>
                <a:gd name="T54" fmla="*/ 38 w 239"/>
                <a:gd name="T55" fmla="*/ 25 h 400"/>
                <a:gd name="T56" fmla="*/ 105 w 239"/>
                <a:gd name="T57" fmla="*/ 0 h 400"/>
                <a:gd name="T58" fmla="*/ 148 w 239"/>
                <a:gd name="T59" fmla="*/ 8 h 400"/>
                <a:gd name="T60" fmla="*/ 175 w 239"/>
                <a:gd name="T61" fmla="*/ 23 h 400"/>
                <a:gd name="T62" fmla="*/ 185 w 239"/>
                <a:gd name="T63" fmla="*/ 26 h 400"/>
                <a:gd name="T64" fmla="*/ 203 w 239"/>
                <a:gd name="T65" fmla="*/ 8 h 400"/>
                <a:gd name="T66" fmla="*/ 219 w 239"/>
                <a:gd name="T67" fmla="*/ 8 h 400"/>
                <a:gd name="T68" fmla="*/ 219 w 239"/>
                <a:gd name="T69" fmla="*/ 134 h 400"/>
                <a:gd name="T70" fmla="*/ 202 w 239"/>
                <a:gd name="T71" fmla="*/ 13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9" h="400">
                  <a:moveTo>
                    <a:pt x="202" y="134"/>
                  </a:moveTo>
                  <a:cubicBezTo>
                    <a:pt x="195" y="100"/>
                    <a:pt x="186" y="75"/>
                    <a:pt x="175" y="59"/>
                  </a:cubicBezTo>
                  <a:cubicBezTo>
                    <a:pt x="158" y="33"/>
                    <a:pt x="135" y="20"/>
                    <a:pt x="108" y="20"/>
                  </a:cubicBezTo>
                  <a:cubicBezTo>
                    <a:pt x="91" y="20"/>
                    <a:pt x="77" y="25"/>
                    <a:pt x="66" y="35"/>
                  </a:cubicBezTo>
                  <a:cubicBezTo>
                    <a:pt x="52" y="47"/>
                    <a:pt x="45" y="63"/>
                    <a:pt x="45" y="84"/>
                  </a:cubicBezTo>
                  <a:cubicBezTo>
                    <a:pt x="45" y="105"/>
                    <a:pt x="53" y="122"/>
                    <a:pt x="68" y="134"/>
                  </a:cubicBezTo>
                  <a:cubicBezTo>
                    <a:pt x="77" y="142"/>
                    <a:pt x="94" y="150"/>
                    <a:pt x="120" y="159"/>
                  </a:cubicBezTo>
                  <a:cubicBezTo>
                    <a:pt x="159" y="172"/>
                    <a:pt x="184" y="184"/>
                    <a:pt x="198" y="193"/>
                  </a:cubicBezTo>
                  <a:cubicBezTo>
                    <a:pt x="225" y="214"/>
                    <a:pt x="239" y="243"/>
                    <a:pt x="239" y="279"/>
                  </a:cubicBezTo>
                  <a:cubicBezTo>
                    <a:pt x="239" y="314"/>
                    <a:pt x="228" y="344"/>
                    <a:pt x="205" y="367"/>
                  </a:cubicBezTo>
                  <a:cubicBezTo>
                    <a:pt x="184" y="389"/>
                    <a:pt x="158" y="400"/>
                    <a:pt x="127" y="400"/>
                  </a:cubicBezTo>
                  <a:cubicBezTo>
                    <a:pt x="111" y="400"/>
                    <a:pt x="96" y="397"/>
                    <a:pt x="82" y="391"/>
                  </a:cubicBezTo>
                  <a:cubicBezTo>
                    <a:pt x="76" y="388"/>
                    <a:pt x="66" y="383"/>
                    <a:pt x="52" y="374"/>
                  </a:cubicBezTo>
                  <a:cubicBezTo>
                    <a:pt x="48" y="372"/>
                    <a:pt x="44" y="370"/>
                    <a:pt x="40" y="370"/>
                  </a:cubicBezTo>
                  <a:cubicBezTo>
                    <a:pt x="34" y="370"/>
                    <a:pt x="30" y="373"/>
                    <a:pt x="26" y="378"/>
                  </a:cubicBezTo>
                  <a:cubicBezTo>
                    <a:pt x="24" y="381"/>
                    <a:pt x="21" y="385"/>
                    <a:pt x="18" y="391"/>
                  </a:cubicBezTo>
                  <a:cubicBezTo>
                    <a:pt x="0" y="391"/>
                    <a:pt x="0" y="391"/>
                    <a:pt x="0" y="391"/>
                  </a:cubicBezTo>
                  <a:cubicBezTo>
                    <a:pt x="0" y="252"/>
                    <a:pt x="0" y="252"/>
                    <a:pt x="0" y="252"/>
                  </a:cubicBezTo>
                  <a:cubicBezTo>
                    <a:pt x="19" y="252"/>
                    <a:pt x="19" y="252"/>
                    <a:pt x="19" y="252"/>
                  </a:cubicBezTo>
                  <a:cubicBezTo>
                    <a:pt x="25" y="287"/>
                    <a:pt x="35" y="314"/>
                    <a:pt x="46" y="332"/>
                  </a:cubicBezTo>
                  <a:cubicBezTo>
                    <a:pt x="66" y="364"/>
                    <a:pt x="92" y="379"/>
                    <a:pt x="124" y="379"/>
                  </a:cubicBezTo>
                  <a:cubicBezTo>
                    <a:pt x="143" y="379"/>
                    <a:pt x="159" y="374"/>
                    <a:pt x="171" y="363"/>
                  </a:cubicBezTo>
                  <a:cubicBezTo>
                    <a:pt x="187" y="348"/>
                    <a:pt x="195" y="329"/>
                    <a:pt x="195" y="304"/>
                  </a:cubicBezTo>
                  <a:cubicBezTo>
                    <a:pt x="195" y="275"/>
                    <a:pt x="183" y="253"/>
                    <a:pt x="158" y="239"/>
                  </a:cubicBezTo>
                  <a:cubicBezTo>
                    <a:pt x="150" y="234"/>
                    <a:pt x="129" y="226"/>
                    <a:pt x="94" y="214"/>
                  </a:cubicBezTo>
                  <a:cubicBezTo>
                    <a:pt x="69" y="206"/>
                    <a:pt x="49" y="195"/>
                    <a:pt x="35" y="183"/>
                  </a:cubicBezTo>
                  <a:cubicBezTo>
                    <a:pt x="14" y="164"/>
                    <a:pt x="3" y="139"/>
                    <a:pt x="3" y="107"/>
                  </a:cubicBezTo>
                  <a:cubicBezTo>
                    <a:pt x="3" y="72"/>
                    <a:pt x="15" y="45"/>
                    <a:pt x="38" y="25"/>
                  </a:cubicBezTo>
                  <a:cubicBezTo>
                    <a:pt x="56" y="8"/>
                    <a:pt x="79" y="0"/>
                    <a:pt x="105" y="0"/>
                  </a:cubicBezTo>
                  <a:cubicBezTo>
                    <a:pt x="119" y="0"/>
                    <a:pt x="134" y="2"/>
                    <a:pt x="148" y="8"/>
                  </a:cubicBezTo>
                  <a:cubicBezTo>
                    <a:pt x="153" y="10"/>
                    <a:pt x="162" y="15"/>
                    <a:pt x="175" y="23"/>
                  </a:cubicBezTo>
                  <a:cubicBezTo>
                    <a:pt x="179" y="25"/>
                    <a:pt x="182" y="26"/>
                    <a:pt x="185" y="26"/>
                  </a:cubicBezTo>
                  <a:cubicBezTo>
                    <a:pt x="191" y="26"/>
                    <a:pt x="197" y="20"/>
                    <a:pt x="203" y="8"/>
                  </a:cubicBezTo>
                  <a:cubicBezTo>
                    <a:pt x="219" y="8"/>
                    <a:pt x="219" y="8"/>
                    <a:pt x="219" y="8"/>
                  </a:cubicBezTo>
                  <a:cubicBezTo>
                    <a:pt x="219" y="134"/>
                    <a:pt x="219" y="134"/>
                    <a:pt x="219" y="134"/>
                  </a:cubicBezTo>
                  <a:lnTo>
                    <a:pt x="202"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46"/>
            <p:cNvSpPr>
              <a:spLocks/>
            </p:cNvSpPr>
            <p:nvPr userDrawn="1"/>
          </p:nvSpPr>
          <p:spPr bwMode="auto">
            <a:xfrm>
              <a:off x="7943850" y="5727700"/>
              <a:ext cx="422275" cy="601663"/>
            </a:xfrm>
            <a:custGeom>
              <a:avLst/>
              <a:gdLst>
                <a:gd name="T0" fmla="*/ 0 w 258"/>
                <a:gd name="T1" fmla="*/ 0 h 367"/>
                <a:gd name="T2" fmla="*/ 119 w 258"/>
                <a:gd name="T3" fmla="*/ 0 h 367"/>
                <a:gd name="T4" fmla="*/ 119 w 258"/>
                <a:gd name="T5" fmla="*/ 18 h 367"/>
                <a:gd name="T6" fmla="*/ 109 w 258"/>
                <a:gd name="T7" fmla="*/ 18 h 367"/>
                <a:gd name="T8" fmla="*/ 86 w 258"/>
                <a:gd name="T9" fmla="*/ 30 h 367"/>
                <a:gd name="T10" fmla="*/ 90 w 258"/>
                <a:gd name="T11" fmla="*/ 46 h 367"/>
                <a:gd name="T12" fmla="*/ 147 w 258"/>
                <a:gd name="T13" fmla="*/ 196 h 367"/>
                <a:gd name="T14" fmla="*/ 197 w 258"/>
                <a:gd name="T15" fmla="*/ 57 h 367"/>
                <a:gd name="T16" fmla="*/ 202 w 258"/>
                <a:gd name="T17" fmla="*/ 34 h 367"/>
                <a:gd name="T18" fmla="*/ 177 w 258"/>
                <a:gd name="T19" fmla="*/ 18 h 367"/>
                <a:gd name="T20" fmla="*/ 164 w 258"/>
                <a:gd name="T21" fmla="*/ 18 h 367"/>
                <a:gd name="T22" fmla="*/ 164 w 258"/>
                <a:gd name="T23" fmla="*/ 0 h 367"/>
                <a:gd name="T24" fmla="*/ 258 w 258"/>
                <a:gd name="T25" fmla="*/ 0 h 367"/>
                <a:gd name="T26" fmla="*/ 258 w 258"/>
                <a:gd name="T27" fmla="*/ 18 h 367"/>
                <a:gd name="T28" fmla="*/ 252 w 258"/>
                <a:gd name="T29" fmla="*/ 18 h 367"/>
                <a:gd name="T30" fmla="*/ 235 w 258"/>
                <a:gd name="T31" fmla="*/ 26 h 367"/>
                <a:gd name="T32" fmla="*/ 226 w 258"/>
                <a:gd name="T33" fmla="*/ 44 h 367"/>
                <a:gd name="T34" fmla="*/ 131 w 258"/>
                <a:gd name="T35" fmla="*/ 299 h 367"/>
                <a:gd name="T36" fmla="*/ 101 w 258"/>
                <a:gd name="T37" fmla="*/ 351 h 367"/>
                <a:gd name="T38" fmla="*/ 60 w 258"/>
                <a:gd name="T39" fmla="*/ 367 h 367"/>
                <a:gd name="T40" fmla="*/ 25 w 258"/>
                <a:gd name="T41" fmla="*/ 355 h 367"/>
                <a:gd name="T42" fmla="*/ 7 w 258"/>
                <a:gd name="T43" fmla="*/ 318 h 367"/>
                <a:gd name="T44" fmla="*/ 15 w 258"/>
                <a:gd name="T45" fmla="*/ 295 h 367"/>
                <a:gd name="T46" fmla="*/ 38 w 258"/>
                <a:gd name="T47" fmla="*/ 285 h 367"/>
                <a:gd name="T48" fmla="*/ 62 w 258"/>
                <a:gd name="T49" fmla="*/ 296 h 367"/>
                <a:gd name="T50" fmla="*/ 67 w 258"/>
                <a:gd name="T51" fmla="*/ 313 h 367"/>
                <a:gd name="T52" fmla="*/ 58 w 258"/>
                <a:gd name="T53" fmla="*/ 334 h 367"/>
                <a:gd name="T54" fmla="*/ 43 w 258"/>
                <a:gd name="T55" fmla="*/ 341 h 367"/>
                <a:gd name="T56" fmla="*/ 61 w 258"/>
                <a:gd name="T57" fmla="*/ 348 h 367"/>
                <a:gd name="T58" fmla="*/ 90 w 258"/>
                <a:gd name="T59" fmla="*/ 335 h 367"/>
                <a:gd name="T60" fmla="*/ 115 w 258"/>
                <a:gd name="T61" fmla="*/ 284 h 367"/>
                <a:gd name="T62" fmla="*/ 121 w 258"/>
                <a:gd name="T63" fmla="*/ 266 h 367"/>
                <a:gd name="T64" fmla="*/ 42 w 258"/>
                <a:gd name="T65" fmla="*/ 55 h 367"/>
                <a:gd name="T66" fmla="*/ 27 w 258"/>
                <a:gd name="T67" fmla="*/ 24 h 367"/>
                <a:gd name="T68" fmla="*/ 4 w 258"/>
                <a:gd name="T69" fmla="*/ 18 h 367"/>
                <a:gd name="T70" fmla="*/ 0 w 258"/>
                <a:gd name="T71" fmla="*/ 18 h 367"/>
                <a:gd name="T72" fmla="*/ 0 w 258"/>
                <a:gd name="T73"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8" h="367">
                  <a:moveTo>
                    <a:pt x="0" y="0"/>
                  </a:moveTo>
                  <a:cubicBezTo>
                    <a:pt x="119" y="0"/>
                    <a:pt x="119" y="0"/>
                    <a:pt x="119" y="0"/>
                  </a:cubicBezTo>
                  <a:cubicBezTo>
                    <a:pt x="119" y="18"/>
                    <a:pt x="119" y="18"/>
                    <a:pt x="119" y="18"/>
                  </a:cubicBezTo>
                  <a:cubicBezTo>
                    <a:pt x="109" y="18"/>
                    <a:pt x="109" y="18"/>
                    <a:pt x="109" y="18"/>
                  </a:cubicBezTo>
                  <a:cubicBezTo>
                    <a:pt x="93" y="18"/>
                    <a:pt x="86" y="22"/>
                    <a:pt x="86" y="30"/>
                  </a:cubicBezTo>
                  <a:cubicBezTo>
                    <a:pt x="86" y="34"/>
                    <a:pt x="87" y="39"/>
                    <a:pt x="90" y="46"/>
                  </a:cubicBezTo>
                  <a:cubicBezTo>
                    <a:pt x="147" y="196"/>
                    <a:pt x="147" y="196"/>
                    <a:pt x="147" y="196"/>
                  </a:cubicBezTo>
                  <a:cubicBezTo>
                    <a:pt x="197" y="57"/>
                    <a:pt x="197" y="57"/>
                    <a:pt x="197" y="57"/>
                  </a:cubicBezTo>
                  <a:cubicBezTo>
                    <a:pt x="200" y="47"/>
                    <a:pt x="202" y="39"/>
                    <a:pt x="202" y="34"/>
                  </a:cubicBezTo>
                  <a:cubicBezTo>
                    <a:pt x="202" y="23"/>
                    <a:pt x="194" y="18"/>
                    <a:pt x="177" y="18"/>
                  </a:cubicBezTo>
                  <a:cubicBezTo>
                    <a:pt x="164" y="18"/>
                    <a:pt x="164" y="18"/>
                    <a:pt x="164" y="18"/>
                  </a:cubicBezTo>
                  <a:cubicBezTo>
                    <a:pt x="164" y="0"/>
                    <a:pt x="164" y="0"/>
                    <a:pt x="164" y="0"/>
                  </a:cubicBezTo>
                  <a:cubicBezTo>
                    <a:pt x="258" y="0"/>
                    <a:pt x="258" y="0"/>
                    <a:pt x="258" y="0"/>
                  </a:cubicBezTo>
                  <a:cubicBezTo>
                    <a:pt x="258" y="18"/>
                    <a:pt x="258" y="18"/>
                    <a:pt x="258" y="18"/>
                  </a:cubicBezTo>
                  <a:cubicBezTo>
                    <a:pt x="252" y="18"/>
                    <a:pt x="252" y="18"/>
                    <a:pt x="252" y="18"/>
                  </a:cubicBezTo>
                  <a:cubicBezTo>
                    <a:pt x="245" y="18"/>
                    <a:pt x="240" y="20"/>
                    <a:pt x="235" y="26"/>
                  </a:cubicBezTo>
                  <a:cubicBezTo>
                    <a:pt x="232" y="29"/>
                    <a:pt x="229" y="36"/>
                    <a:pt x="226" y="44"/>
                  </a:cubicBezTo>
                  <a:cubicBezTo>
                    <a:pt x="131" y="299"/>
                    <a:pt x="131" y="299"/>
                    <a:pt x="131" y="299"/>
                  </a:cubicBezTo>
                  <a:cubicBezTo>
                    <a:pt x="122" y="323"/>
                    <a:pt x="112" y="340"/>
                    <a:pt x="101" y="351"/>
                  </a:cubicBezTo>
                  <a:cubicBezTo>
                    <a:pt x="90" y="362"/>
                    <a:pt x="76" y="367"/>
                    <a:pt x="60" y="367"/>
                  </a:cubicBezTo>
                  <a:cubicBezTo>
                    <a:pt x="46" y="367"/>
                    <a:pt x="34" y="363"/>
                    <a:pt x="25" y="355"/>
                  </a:cubicBezTo>
                  <a:cubicBezTo>
                    <a:pt x="13" y="345"/>
                    <a:pt x="7" y="333"/>
                    <a:pt x="7" y="318"/>
                  </a:cubicBezTo>
                  <a:cubicBezTo>
                    <a:pt x="7" y="309"/>
                    <a:pt x="10" y="301"/>
                    <a:pt x="15" y="295"/>
                  </a:cubicBezTo>
                  <a:cubicBezTo>
                    <a:pt x="21" y="288"/>
                    <a:pt x="28" y="285"/>
                    <a:pt x="38" y="285"/>
                  </a:cubicBezTo>
                  <a:cubicBezTo>
                    <a:pt x="49" y="285"/>
                    <a:pt x="57" y="289"/>
                    <a:pt x="62" y="296"/>
                  </a:cubicBezTo>
                  <a:cubicBezTo>
                    <a:pt x="66" y="301"/>
                    <a:pt x="67" y="306"/>
                    <a:pt x="67" y="313"/>
                  </a:cubicBezTo>
                  <a:cubicBezTo>
                    <a:pt x="67" y="321"/>
                    <a:pt x="64" y="328"/>
                    <a:pt x="58" y="334"/>
                  </a:cubicBezTo>
                  <a:cubicBezTo>
                    <a:pt x="54" y="337"/>
                    <a:pt x="49" y="340"/>
                    <a:pt x="43" y="341"/>
                  </a:cubicBezTo>
                  <a:cubicBezTo>
                    <a:pt x="48" y="345"/>
                    <a:pt x="53" y="348"/>
                    <a:pt x="61" y="348"/>
                  </a:cubicBezTo>
                  <a:cubicBezTo>
                    <a:pt x="72" y="348"/>
                    <a:pt x="82" y="343"/>
                    <a:pt x="90" y="335"/>
                  </a:cubicBezTo>
                  <a:cubicBezTo>
                    <a:pt x="97" y="327"/>
                    <a:pt x="106" y="310"/>
                    <a:pt x="115" y="284"/>
                  </a:cubicBezTo>
                  <a:cubicBezTo>
                    <a:pt x="121" y="266"/>
                    <a:pt x="121" y="266"/>
                    <a:pt x="121" y="266"/>
                  </a:cubicBezTo>
                  <a:cubicBezTo>
                    <a:pt x="42" y="55"/>
                    <a:pt x="42" y="55"/>
                    <a:pt x="42" y="55"/>
                  </a:cubicBezTo>
                  <a:cubicBezTo>
                    <a:pt x="36" y="38"/>
                    <a:pt x="31" y="28"/>
                    <a:pt x="27" y="24"/>
                  </a:cubicBezTo>
                  <a:cubicBezTo>
                    <a:pt x="21" y="20"/>
                    <a:pt x="14" y="18"/>
                    <a:pt x="4" y="18"/>
                  </a:cubicBezTo>
                  <a:cubicBezTo>
                    <a:pt x="0" y="18"/>
                    <a:pt x="0" y="18"/>
                    <a:pt x="0" y="18"/>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47"/>
            <p:cNvSpPr>
              <a:spLocks/>
            </p:cNvSpPr>
            <p:nvPr userDrawn="1"/>
          </p:nvSpPr>
          <p:spPr bwMode="auto">
            <a:xfrm>
              <a:off x="8372475" y="5716588"/>
              <a:ext cx="301625" cy="452438"/>
            </a:xfrm>
            <a:custGeom>
              <a:avLst/>
              <a:gdLst>
                <a:gd name="T0" fmla="*/ 168 w 184"/>
                <a:gd name="T1" fmla="*/ 6 h 275"/>
                <a:gd name="T2" fmla="*/ 168 w 184"/>
                <a:gd name="T3" fmla="*/ 89 h 275"/>
                <a:gd name="T4" fmla="*/ 151 w 184"/>
                <a:gd name="T5" fmla="*/ 89 h 275"/>
                <a:gd name="T6" fmla="*/ 84 w 184"/>
                <a:gd name="T7" fmla="*/ 17 h 275"/>
                <a:gd name="T8" fmla="*/ 53 w 184"/>
                <a:gd name="T9" fmla="*/ 28 h 275"/>
                <a:gd name="T10" fmla="*/ 41 w 184"/>
                <a:gd name="T11" fmla="*/ 57 h 275"/>
                <a:gd name="T12" fmla="*/ 58 w 184"/>
                <a:gd name="T13" fmla="*/ 88 h 275"/>
                <a:gd name="T14" fmla="*/ 89 w 184"/>
                <a:gd name="T15" fmla="*/ 101 h 275"/>
                <a:gd name="T16" fmla="*/ 152 w 184"/>
                <a:gd name="T17" fmla="*/ 128 h 275"/>
                <a:gd name="T18" fmla="*/ 184 w 184"/>
                <a:gd name="T19" fmla="*/ 191 h 275"/>
                <a:gd name="T20" fmla="*/ 157 w 184"/>
                <a:gd name="T21" fmla="*/ 255 h 275"/>
                <a:gd name="T22" fmla="*/ 98 w 184"/>
                <a:gd name="T23" fmla="*/ 275 h 275"/>
                <a:gd name="T24" fmla="*/ 60 w 184"/>
                <a:gd name="T25" fmla="*/ 268 h 275"/>
                <a:gd name="T26" fmla="*/ 34 w 184"/>
                <a:gd name="T27" fmla="*/ 254 h 275"/>
                <a:gd name="T28" fmla="*/ 26 w 184"/>
                <a:gd name="T29" fmla="*/ 252 h 275"/>
                <a:gd name="T30" fmla="*/ 16 w 184"/>
                <a:gd name="T31" fmla="*/ 270 h 275"/>
                <a:gd name="T32" fmla="*/ 0 w 184"/>
                <a:gd name="T33" fmla="*/ 270 h 275"/>
                <a:gd name="T34" fmla="*/ 0 w 184"/>
                <a:gd name="T35" fmla="*/ 172 h 275"/>
                <a:gd name="T36" fmla="*/ 16 w 184"/>
                <a:gd name="T37" fmla="*/ 172 h 275"/>
                <a:gd name="T38" fmla="*/ 37 w 184"/>
                <a:gd name="T39" fmla="*/ 224 h 275"/>
                <a:gd name="T40" fmla="*/ 63 w 184"/>
                <a:gd name="T41" fmla="*/ 248 h 275"/>
                <a:gd name="T42" fmla="*/ 97 w 184"/>
                <a:gd name="T43" fmla="*/ 257 h 275"/>
                <a:gd name="T44" fmla="*/ 132 w 184"/>
                <a:gd name="T45" fmla="*/ 242 h 275"/>
                <a:gd name="T46" fmla="*/ 144 w 184"/>
                <a:gd name="T47" fmla="*/ 210 h 275"/>
                <a:gd name="T48" fmla="*/ 120 w 184"/>
                <a:gd name="T49" fmla="*/ 170 h 275"/>
                <a:gd name="T50" fmla="*/ 70 w 184"/>
                <a:gd name="T51" fmla="*/ 149 h 275"/>
                <a:gd name="T52" fmla="*/ 28 w 184"/>
                <a:gd name="T53" fmla="*/ 128 h 275"/>
                <a:gd name="T54" fmla="*/ 3 w 184"/>
                <a:gd name="T55" fmla="*/ 72 h 275"/>
                <a:gd name="T56" fmla="*/ 26 w 184"/>
                <a:gd name="T57" fmla="*/ 19 h 275"/>
                <a:gd name="T58" fmla="*/ 80 w 184"/>
                <a:gd name="T59" fmla="*/ 0 h 275"/>
                <a:gd name="T60" fmla="*/ 134 w 184"/>
                <a:gd name="T61" fmla="*/ 16 h 275"/>
                <a:gd name="T62" fmla="*/ 143 w 184"/>
                <a:gd name="T63" fmla="*/ 19 h 275"/>
                <a:gd name="T64" fmla="*/ 151 w 184"/>
                <a:gd name="T65" fmla="*/ 6 h 275"/>
                <a:gd name="T66" fmla="*/ 168 w 184"/>
                <a:gd name="T67" fmla="*/ 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75">
                  <a:moveTo>
                    <a:pt x="168" y="6"/>
                  </a:moveTo>
                  <a:cubicBezTo>
                    <a:pt x="168" y="89"/>
                    <a:pt x="168" y="89"/>
                    <a:pt x="168" y="89"/>
                  </a:cubicBezTo>
                  <a:cubicBezTo>
                    <a:pt x="151" y="89"/>
                    <a:pt x="151" y="89"/>
                    <a:pt x="151" y="89"/>
                  </a:cubicBezTo>
                  <a:cubicBezTo>
                    <a:pt x="142" y="41"/>
                    <a:pt x="119" y="17"/>
                    <a:pt x="84" y="17"/>
                  </a:cubicBezTo>
                  <a:cubicBezTo>
                    <a:pt x="71" y="17"/>
                    <a:pt x="61" y="21"/>
                    <a:pt x="53" y="28"/>
                  </a:cubicBezTo>
                  <a:cubicBezTo>
                    <a:pt x="45" y="36"/>
                    <a:pt x="41" y="46"/>
                    <a:pt x="41" y="57"/>
                  </a:cubicBezTo>
                  <a:cubicBezTo>
                    <a:pt x="41" y="70"/>
                    <a:pt x="47" y="80"/>
                    <a:pt x="58" y="88"/>
                  </a:cubicBezTo>
                  <a:cubicBezTo>
                    <a:pt x="64" y="92"/>
                    <a:pt x="74" y="96"/>
                    <a:pt x="89" y="101"/>
                  </a:cubicBezTo>
                  <a:cubicBezTo>
                    <a:pt x="120" y="111"/>
                    <a:pt x="142" y="120"/>
                    <a:pt x="152" y="128"/>
                  </a:cubicBezTo>
                  <a:cubicBezTo>
                    <a:pt x="173" y="144"/>
                    <a:pt x="184" y="165"/>
                    <a:pt x="184" y="191"/>
                  </a:cubicBezTo>
                  <a:cubicBezTo>
                    <a:pt x="184" y="217"/>
                    <a:pt x="175" y="238"/>
                    <a:pt x="157" y="255"/>
                  </a:cubicBezTo>
                  <a:cubicBezTo>
                    <a:pt x="141" y="269"/>
                    <a:pt x="122" y="275"/>
                    <a:pt x="98" y="275"/>
                  </a:cubicBezTo>
                  <a:cubicBezTo>
                    <a:pt x="84" y="275"/>
                    <a:pt x="71" y="273"/>
                    <a:pt x="60" y="268"/>
                  </a:cubicBezTo>
                  <a:cubicBezTo>
                    <a:pt x="55" y="266"/>
                    <a:pt x="46" y="262"/>
                    <a:pt x="34" y="254"/>
                  </a:cubicBezTo>
                  <a:cubicBezTo>
                    <a:pt x="31" y="253"/>
                    <a:pt x="28" y="252"/>
                    <a:pt x="26" y="252"/>
                  </a:cubicBezTo>
                  <a:cubicBezTo>
                    <a:pt x="23" y="252"/>
                    <a:pt x="19" y="258"/>
                    <a:pt x="16" y="270"/>
                  </a:cubicBezTo>
                  <a:cubicBezTo>
                    <a:pt x="0" y="270"/>
                    <a:pt x="0" y="270"/>
                    <a:pt x="0" y="270"/>
                  </a:cubicBezTo>
                  <a:cubicBezTo>
                    <a:pt x="0" y="172"/>
                    <a:pt x="0" y="172"/>
                    <a:pt x="0" y="172"/>
                  </a:cubicBezTo>
                  <a:cubicBezTo>
                    <a:pt x="16" y="172"/>
                    <a:pt x="16" y="172"/>
                    <a:pt x="16" y="172"/>
                  </a:cubicBezTo>
                  <a:cubicBezTo>
                    <a:pt x="23" y="196"/>
                    <a:pt x="30" y="214"/>
                    <a:pt x="37" y="224"/>
                  </a:cubicBezTo>
                  <a:cubicBezTo>
                    <a:pt x="44" y="234"/>
                    <a:pt x="53" y="242"/>
                    <a:pt x="63" y="248"/>
                  </a:cubicBezTo>
                  <a:cubicBezTo>
                    <a:pt x="74" y="254"/>
                    <a:pt x="85" y="257"/>
                    <a:pt x="97" y="257"/>
                  </a:cubicBezTo>
                  <a:cubicBezTo>
                    <a:pt x="112" y="257"/>
                    <a:pt x="123" y="252"/>
                    <a:pt x="132" y="242"/>
                  </a:cubicBezTo>
                  <a:cubicBezTo>
                    <a:pt x="140" y="233"/>
                    <a:pt x="144" y="222"/>
                    <a:pt x="144" y="210"/>
                  </a:cubicBezTo>
                  <a:cubicBezTo>
                    <a:pt x="144" y="193"/>
                    <a:pt x="136" y="179"/>
                    <a:pt x="120" y="170"/>
                  </a:cubicBezTo>
                  <a:cubicBezTo>
                    <a:pt x="112" y="164"/>
                    <a:pt x="95" y="158"/>
                    <a:pt x="70" y="149"/>
                  </a:cubicBezTo>
                  <a:cubicBezTo>
                    <a:pt x="53" y="144"/>
                    <a:pt x="39" y="137"/>
                    <a:pt x="28" y="128"/>
                  </a:cubicBezTo>
                  <a:cubicBezTo>
                    <a:pt x="11" y="115"/>
                    <a:pt x="3" y="97"/>
                    <a:pt x="3" y="72"/>
                  </a:cubicBezTo>
                  <a:cubicBezTo>
                    <a:pt x="3" y="50"/>
                    <a:pt x="10" y="32"/>
                    <a:pt x="26" y="19"/>
                  </a:cubicBezTo>
                  <a:cubicBezTo>
                    <a:pt x="40" y="6"/>
                    <a:pt x="58" y="0"/>
                    <a:pt x="80" y="0"/>
                  </a:cubicBezTo>
                  <a:cubicBezTo>
                    <a:pt x="99" y="0"/>
                    <a:pt x="117" y="5"/>
                    <a:pt x="134" y="16"/>
                  </a:cubicBezTo>
                  <a:cubicBezTo>
                    <a:pt x="138" y="18"/>
                    <a:pt x="141" y="19"/>
                    <a:pt x="143" y="19"/>
                  </a:cubicBezTo>
                  <a:cubicBezTo>
                    <a:pt x="146" y="19"/>
                    <a:pt x="149" y="14"/>
                    <a:pt x="151" y="6"/>
                  </a:cubicBezTo>
                  <a:lnTo>
                    <a:pt x="16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48"/>
            <p:cNvSpPr>
              <a:spLocks/>
            </p:cNvSpPr>
            <p:nvPr userDrawn="1"/>
          </p:nvSpPr>
          <p:spPr bwMode="auto">
            <a:xfrm>
              <a:off x="8685213" y="5562600"/>
              <a:ext cx="288925" cy="606425"/>
            </a:xfrm>
            <a:custGeom>
              <a:avLst/>
              <a:gdLst>
                <a:gd name="T0" fmla="*/ 90 w 176"/>
                <a:gd name="T1" fmla="*/ 119 h 369"/>
                <a:gd name="T2" fmla="*/ 90 w 176"/>
                <a:gd name="T3" fmla="*/ 278 h 369"/>
                <a:gd name="T4" fmla="*/ 94 w 176"/>
                <a:gd name="T5" fmla="*/ 323 h 369"/>
                <a:gd name="T6" fmla="*/ 122 w 176"/>
                <a:gd name="T7" fmla="*/ 345 h 369"/>
                <a:gd name="T8" fmla="*/ 149 w 176"/>
                <a:gd name="T9" fmla="*/ 326 h 369"/>
                <a:gd name="T10" fmla="*/ 157 w 176"/>
                <a:gd name="T11" fmla="*/ 281 h 369"/>
                <a:gd name="T12" fmla="*/ 157 w 176"/>
                <a:gd name="T13" fmla="*/ 273 h 369"/>
                <a:gd name="T14" fmla="*/ 176 w 176"/>
                <a:gd name="T15" fmla="*/ 273 h 369"/>
                <a:gd name="T16" fmla="*/ 176 w 176"/>
                <a:gd name="T17" fmla="*/ 284 h 369"/>
                <a:gd name="T18" fmla="*/ 159 w 176"/>
                <a:gd name="T19" fmla="*/ 347 h 369"/>
                <a:gd name="T20" fmla="*/ 108 w 176"/>
                <a:gd name="T21" fmla="*/ 369 h 369"/>
                <a:gd name="T22" fmla="*/ 58 w 176"/>
                <a:gd name="T23" fmla="*/ 350 h 369"/>
                <a:gd name="T24" fmla="*/ 43 w 176"/>
                <a:gd name="T25" fmla="*/ 315 h 369"/>
                <a:gd name="T26" fmla="*/ 42 w 176"/>
                <a:gd name="T27" fmla="*/ 278 h 369"/>
                <a:gd name="T28" fmla="*/ 42 w 176"/>
                <a:gd name="T29" fmla="*/ 119 h 369"/>
                <a:gd name="T30" fmla="*/ 0 w 176"/>
                <a:gd name="T31" fmla="*/ 119 h 369"/>
                <a:gd name="T32" fmla="*/ 0 w 176"/>
                <a:gd name="T33" fmla="*/ 103 h 369"/>
                <a:gd name="T34" fmla="*/ 54 w 176"/>
                <a:gd name="T35" fmla="*/ 72 h 369"/>
                <a:gd name="T36" fmla="*/ 74 w 176"/>
                <a:gd name="T37" fmla="*/ 0 h 369"/>
                <a:gd name="T38" fmla="*/ 90 w 176"/>
                <a:gd name="T39" fmla="*/ 0 h 369"/>
                <a:gd name="T40" fmla="*/ 90 w 176"/>
                <a:gd name="T41" fmla="*/ 100 h 369"/>
                <a:gd name="T42" fmla="*/ 167 w 176"/>
                <a:gd name="T43" fmla="*/ 100 h 369"/>
                <a:gd name="T44" fmla="*/ 167 w 176"/>
                <a:gd name="T45" fmla="*/ 119 h 369"/>
                <a:gd name="T46" fmla="*/ 90 w 176"/>
                <a:gd name="T47" fmla="*/ 1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6" h="369">
                  <a:moveTo>
                    <a:pt x="90" y="119"/>
                  </a:moveTo>
                  <a:cubicBezTo>
                    <a:pt x="90" y="278"/>
                    <a:pt x="90" y="278"/>
                    <a:pt x="90" y="278"/>
                  </a:cubicBezTo>
                  <a:cubicBezTo>
                    <a:pt x="90" y="299"/>
                    <a:pt x="92" y="314"/>
                    <a:pt x="94" y="323"/>
                  </a:cubicBezTo>
                  <a:cubicBezTo>
                    <a:pt x="99" y="338"/>
                    <a:pt x="108" y="345"/>
                    <a:pt x="122" y="345"/>
                  </a:cubicBezTo>
                  <a:cubicBezTo>
                    <a:pt x="134" y="345"/>
                    <a:pt x="143" y="339"/>
                    <a:pt x="149" y="326"/>
                  </a:cubicBezTo>
                  <a:cubicBezTo>
                    <a:pt x="154" y="314"/>
                    <a:pt x="157" y="299"/>
                    <a:pt x="157" y="281"/>
                  </a:cubicBezTo>
                  <a:cubicBezTo>
                    <a:pt x="157" y="273"/>
                    <a:pt x="157" y="273"/>
                    <a:pt x="157" y="273"/>
                  </a:cubicBezTo>
                  <a:cubicBezTo>
                    <a:pt x="176" y="273"/>
                    <a:pt x="176" y="273"/>
                    <a:pt x="176" y="273"/>
                  </a:cubicBezTo>
                  <a:cubicBezTo>
                    <a:pt x="176" y="284"/>
                    <a:pt x="176" y="284"/>
                    <a:pt x="176" y="284"/>
                  </a:cubicBezTo>
                  <a:cubicBezTo>
                    <a:pt x="176" y="310"/>
                    <a:pt x="170" y="331"/>
                    <a:pt x="159" y="347"/>
                  </a:cubicBezTo>
                  <a:cubicBezTo>
                    <a:pt x="148" y="362"/>
                    <a:pt x="131" y="369"/>
                    <a:pt x="108" y="369"/>
                  </a:cubicBezTo>
                  <a:cubicBezTo>
                    <a:pt x="85" y="369"/>
                    <a:pt x="69" y="363"/>
                    <a:pt x="58" y="350"/>
                  </a:cubicBezTo>
                  <a:cubicBezTo>
                    <a:pt x="50" y="340"/>
                    <a:pt x="45" y="329"/>
                    <a:pt x="43" y="315"/>
                  </a:cubicBezTo>
                  <a:cubicBezTo>
                    <a:pt x="42" y="305"/>
                    <a:pt x="42" y="293"/>
                    <a:pt x="42" y="278"/>
                  </a:cubicBezTo>
                  <a:cubicBezTo>
                    <a:pt x="42" y="119"/>
                    <a:pt x="42" y="119"/>
                    <a:pt x="42" y="119"/>
                  </a:cubicBezTo>
                  <a:cubicBezTo>
                    <a:pt x="0" y="119"/>
                    <a:pt x="0" y="119"/>
                    <a:pt x="0" y="119"/>
                  </a:cubicBezTo>
                  <a:cubicBezTo>
                    <a:pt x="0" y="103"/>
                    <a:pt x="0" y="103"/>
                    <a:pt x="0" y="103"/>
                  </a:cubicBezTo>
                  <a:cubicBezTo>
                    <a:pt x="27" y="97"/>
                    <a:pt x="45" y="86"/>
                    <a:pt x="54" y="72"/>
                  </a:cubicBezTo>
                  <a:cubicBezTo>
                    <a:pt x="64" y="57"/>
                    <a:pt x="71" y="33"/>
                    <a:pt x="74" y="0"/>
                  </a:cubicBezTo>
                  <a:cubicBezTo>
                    <a:pt x="90" y="0"/>
                    <a:pt x="90" y="0"/>
                    <a:pt x="90" y="0"/>
                  </a:cubicBezTo>
                  <a:cubicBezTo>
                    <a:pt x="90" y="100"/>
                    <a:pt x="90" y="100"/>
                    <a:pt x="90" y="100"/>
                  </a:cubicBezTo>
                  <a:cubicBezTo>
                    <a:pt x="167" y="100"/>
                    <a:pt x="167" y="100"/>
                    <a:pt x="167" y="100"/>
                  </a:cubicBezTo>
                  <a:cubicBezTo>
                    <a:pt x="167" y="119"/>
                    <a:pt x="167" y="119"/>
                    <a:pt x="167" y="119"/>
                  </a:cubicBezTo>
                  <a:lnTo>
                    <a:pt x="90"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49"/>
            <p:cNvSpPr>
              <a:spLocks noEditPoints="1"/>
            </p:cNvSpPr>
            <p:nvPr userDrawn="1"/>
          </p:nvSpPr>
          <p:spPr bwMode="auto">
            <a:xfrm>
              <a:off x="9001125" y="5713413"/>
              <a:ext cx="344488" cy="460375"/>
            </a:xfrm>
            <a:custGeom>
              <a:avLst/>
              <a:gdLst>
                <a:gd name="T0" fmla="*/ 210 w 210"/>
                <a:gd name="T1" fmla="*/ 138 h 280"/>
                <a:gd name="T2" fmla="*/ 53 w 210"/>
                <a:gd name="T3" fmla="*/ 138 h 280"/>
                <a:gd name="T4" fmla="*/ 65 w 210"/>
                <a:gd name="T5" fmla="*/ 220 h 280"/>
                <a:gd name="T6" fmla="*/ 119 w 210"/>
                <a:gd name="T7" fmla="*/ 257 h 280"/>
                <a:gd name="T8" fmla="*/ 168 w 210"/>
                <a:gd name="T9" fmla="*/ 234 h 280"/>
                <a:gd name="T10" fmla="*/ 190 w 210"/>
                <a:gd name="T11" fmla="*/ 198 h 280"/>
                <a:gd name="T12" fmla="*/ 207 w 210"/>
                <a:gd name="T13" fmla="*/ 207 h 280"/>
                <a:gd name="T14" fmla="*/ 110 w 210"/>
                <a:gd name="T15" fmla="*/ 280 h 280"/>
                <a:gd name="T16" fmla="*/ 36 w 210"/>
                <a:gd name="T17" fmla="*/ 249 h 280"/>
                <a:gd name="T18" fmla="*/ 0 w 210"/>
                <a:gd name="T19" fmla="*/ 138 h 280"/>
                <a:gd name="T20" fmla="*/ 36 w 210"/>
                <a:gd name="T21" fmla="*/ 31 h 280"/>
                <a:gd name="T22" fmla="*/ 104 w 210"/>
                <a:gd name="T23" fmla="*/ 0 h 280"/>
                <a:gd name="T24" fmla="*/ 193 w 210"/>
                <a:gd name="T25" fmla="*/ 59 h 280"/>
                <a:gd name="T26" fmla="*/ 210 w 210"/>
                <a:gd name="T27" fmla="*/ 138 h 280"/>
                <a:gd name="T28" fmla="*/ 157 w 210"/>
                <a:gd name="T29" fmla="*/ 118 h 280"/>
                <a:gd name="T30" fmla="*/ 150 w 210"/>
                <a:gd name="T31" fmla="*/ 60 h 280"/>
                <a:gd name="T32" fmla="*/ 107 w 210"/>
                <a:gd name="T33" fmla="*/ 20 h 280"/>
                <a:gd name="T34" fmla="*/ 60 w 210"/>
                <a:gd name="T35" fmla="*/ 69 h 280"/>
                <a:gd name="T36" fmla="*/ 54 w 210"/>
                <a:gd name="T37" fmla="*/ 118 h 280"/>
                <a:gd name="T38" fmla="*/ 157 w 210"/>
                <a:gd name="T39"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80">
                  <a:moveTo>
                    <a:pt x="210" y="138"/>
                  </a:moveTo>
                  <a:cubicBezTo>
                    <a:pt x="53" y="138"/>
                    <a:pt x="53" y="138"/>
                    <a:pt x="53" y="138"/>
                  </a:cubicBezTo>
                  <a:cubicBezTo>
                    <a:pt x="54" y="175"/>
                    <a:pt x="58" y="202"/>
                    <a:pt x="65" y="220"/>
                  </a:cubicBezTo>
                  <a:cubicBezTo>
                    <a:pt x="75" y="245"/>
                    <a:pt x="93" y="257"/>
                    <a:pt x="119" y="257"/>
                  </a:cubicBezTo>
                  <a:cubicBezTo>
                    <a:pt x="139" y="257"/>
                    <a:pt x="155" y="249"/>
                    <a:pt x="168" y="234"/>
                  </a:cubicBezTo>
                  <a:cubicBezTo>
                    <a:pt x="176" y="225"/>
                    <a:pt x="183" y="213"/>
                    <a:pt x="190" y="198"/>
                  </a:cubicBezTo>
                  <a:cubicBezTo>
                    <a:pt x="207" y="207"/>
                    <a:pt x="207" y="207"/>
                    <a:pt x="207" y="207"/>
                  </a:cubicBezTo>
                  <a:cubicBezTo>
                    <a:pt x="183" y="256"/>
                    <a:pt x="151" y="280"/>
                    <a:pt x="110" y="280"/>
                  </a:cubicBezTo>
                  <a:cubicBezTo>
                    <a:pt x="80" y="280"/>
                    <a:pt x="55" y="269"/>
                    <a:pt x="36" y="249"/>
                  </a:cubicBezTo>
                  <a:cubicBezTo>
                    <a:pt x="12" y="223"/>
                    <a:pt x="0" y="186"/>
                    <a:pt x="0" y="138"/>
                  </a:cubicBezTo>
                  <a:cubicBezTo>
                    <a:pt x="0" y="94"/>
                    <a:pt x="12" y="58"/>
                    <a:pt x="36" y="31"/>
                  </a:cubicBezTo>
                  <a:cubicBezTo>
                    <a:pt x="55" y="10"/>
                    <a:pt x="77" y="0"/>
                    <a:pt x="104" y="0"/>
                  </a:cubicBezTo>
                  <a:cubicBezTo>
                    <a:pt x="143" y="0"/>
                    <a:pt x="173" y="19"/>
                    <a:pt x="193" y="59"/>
                  </a:cubicBezTo>
                  <a:cubicBezTo>
                    <a:pt x="203" y="80"/>
                    <a:pt x="209" y="106"/>
                    <a:pt x="210" y="138"/>
                  </a:cubicBezTo>
                  <a:close/>
                  <a:moveTo>
                    <a:pt x="157" y="118"/>
                  </a:moveTo>
                  <a:cubicBezTo>
                    <a:pt x="157" y="94"/>
                    <a:pt x="155" y="75"/>
                    <a:pt x="150" y="60"/>
                  </a:cubicBezTo>
                  <a:cubicBezTo>
                    <a:pt x="141" y="33"/>
                    <a:pt x="126" y="20"/>
                    <a:pt x="107" y="20"/>
                  </a:cubicBezTo>
                  <a:cubicBezTo>
                    <a:pt x="85" y="20"/>
                    <a:pt x="69" y="36"/>
                    <a:pt x="60" y="69"/>
                  </a:cubicBezTo>
                  <a:cubicBezTo>
                    <a:pt x="56" y="82"/>
                    <a:pt x="54" y="99"/>
                    <a:pt x="54" y="118"/>
                  </a:cubicBezTo>
                  <a:lnTo>
                    <a:pt x="157"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50"/>
            <p:cNvSpPr>
              <a:spLocks/>
            </p:cNvSpPr>
            <p:nvPr userDrawn="1"/>
          </p:nvSpPr>
          <p:spPr bwMode="auto">
            <a:xfrm>
              <a:off x="9378950" y="5716588"/>
              <a:ext cx="649288" cy="442913"/>
            </a:xfrm>
            <a:custGeom>
              <a:avLst/>
              <a:gdLst>
                <a:gd name="T0" fmla="*/ 312 w 396"/>
                <a:gd name="T1" fmla="*/ 270 h 270"/>
                <a:gd name="T2" fmla="*/ 312 w 396"/>
                <a:gd name="T3" fmla="*/ 108 h 270"/>
                <a:gd name="T4" fmla="*/ 305 w 396"/>
                <a:gd name="T5" fmla="*/ 44 h 270"/>
                <a:gd name="T6" fmla="*/ 275 w 396"/>
                <a:gd name="T7" fmla="*/ 25 h 270"/>
                <a:gd name="T8" fmla="*/ 236 w 396"/>
                <a:gd name="T9" fmla="*/ 52 h 270"/>
                <a:gd name="T10" fmla="*/ 225 w 396"/>
                <a:gd name="T11" fmla="*/ 84 h 270"/>
                <a:gd name="T12" fmla="*/ 223 w 396"/>
                <a:gd name="T13" fmla="*/ 134 h 270"/>
                <a:gd name="T14" fmla="*/ 223 w 396"/>
                <a:gd name="T15" fmla="*/ 205 h 270"/>
                <a:gd name="T16" fmla="*/ 230 w 396"/>
                <a:gd name="T17" fmla="*/ 245 h 270"/>
                <a:gd name="T18" fmla="*/ 252 w 396"/>
                <a:gd name="T19" fmla="*/ 252 h 270"/>
                <a:gd name="T20" fmla="*/ 261 w 396"/>
                <a:gd name="T21" fmla="*/ 252 h 270"/>
                <a:gd name="T22" fmla="*/ 261 w 396"/>
                <a:gd name="T23" fmla="*/ 270 h 270"/>
                <a:gd name="T24" fmla="*/ 175 w 396"/>
                <a:gd name="T25" fmla="*/ 270 h 270"/>
                <a:gd name="T26" fmla="*/ 175 w 396"/>
                <a:gd name="T27" fmla="*/ 117 h 270"/>
                <a:gd name="T28" fmla="*/ 173 w 396"/>
                <a:gd name="T29" fmla="*/ 66 h 270"/>
                <a:gd name="T30" fmla="*/ 137 w 396"/>
                <a:gd name="T31" fmla="*/ 25 h 270"/>
                <a:gd name="T32" fmla="*/ 99 w 396"/>
                <a:gd name="T33" fmla="*/ 53 h 270"/>
                <a:gd name="T34" fmla="*/ 89 w 396"/>
                <a:gd name="T35" fmla="*/ 81 h 270"/>
                <a:gd name="T36" fmla="*/ 86 w 396"/>
                <a:gd name="T37" fmla="*/ 134 h 270"/>
                <a:gd name="T38" fmla="*/ 86 w 396"/>
                <a:gd name="T39" fmla="*/ 205 h 270"/>
                <a:gd name="T40" fmla="*/ 93 w 396"/>
                <a:gd name="T41" fmla="*/ 245 h 270"/>
                <a:gd name="T42" fmla="*/ 116 w 396"/>
                <a:gd name="T43" fmla="*/ 252 h 270"/>
                <a:gd name="T44" fmla="*/ 124 w 396"/>
                <a:gd name="T45" fmla="*/ 252 h 270"/>
                <a:gd name="T46" fmla="*/ 124 w 396"/>
                <a:gd name="T47" fmla="*/ 270 h 270"/>
                <a:gd name="T48" fmla="*/ 0 w 396"/>
                <a:gd name="T49" fmla="*/ 270 h 270"/>
                <a:gd name="T50" fmla="*/ 0 w 396"/>
                <a:gd name="T51" fmla="*/ 252 h 270"/>
                <a:gd name="T52" fmla="*/ 9 w 396"/>
                <a:gd name="T53" fmla="*/ 252 h 270"/>
                <a:gd name="T54" fmla="*/ 31 w 396"/>
                <a:gd name="T55" fmla="*/ 245 h 270"/>
                <a:gd name="T56" fmla="*/ 38 w 396"/>
                <a:gd name="T57" fmla="*/ 205 h 270"/>
                <a:gd name="T58" fmla="*/ 38 w 396"/>
                <a:gd name="T59" fmla="*/ 69 h 270"/>
                <a:gd name="T60" fmla="*/ 31 w 396"/>
                <a:gd name="T61" fmla="*/ 30 h 270"/>
                <a:gd name="T62" fmla="*/ 9 w 396"/>
                <a:gd name="T63" fmla="*/ 24 h 270"/>
                <a:gd name="T64" fmla="*/ 2 w 396"/>
                <a:gd name="T65" fmla="*/ 24 h 270"/>
                <a:gd name="T66" fmla="*/ 2 w 396"/>
                <a:gd name="T67" fmla="*/ 6 h 270"/>
                <a:gd name="T68" fmla="*/ 83 w 396"/>
                <a:gd name="T69" fmla="*/ 2 h 270"/>
                <a:gd name="T70" fmla="*/ 83 w 396"/>
                <a:gd name="T71" fmla="*/ 49 h 270"/>
                <a:gd name="T72" fmla="*/ 99 w 396"/>
                <a:gd name="T73" fmla="*/ 23 h 270"/>
                <a:gd name="T74" fmla="*/ 150 w 396"/>
                <a:gd name="T75" fmla="*/ 0 h 270"/>
                <a:gd name="T76" fmla="*/ 217 w 396"/>
                <a:gd name="T77" fmla="*/ 52 h 270"/>
                <a:gd name="T78" fmla="*/ 288 w 396"/>
                <a:gd name="T79" fmla="*/ 0 h 270"/>
                <a:gd name="T80" fmla="*/ 346 w 396"/>
                <a:gd name="T81" fmla="*/ 30 h 270"/>
                <a:gd name="T82" fmla="*/ 358 w 396"/>
                <a:gd name="T83" fmla="*/ 66 h 270"/>
                <a:gd name="T84" fmla="*/ 360 w 396"/>
                <a:gd name="T85" fmla="*/ 102 h 270"/>
                <a:gd name="T86" fmla="*/ 360 w 396"/>
                <a:gd name="T87" fmla="*/ 205 h 270"/>
                <a:gd name="T88" fmla="*/ 367 w 396"/>
                <a:gd name="T89" fmla="*/ 245 h 270"/>
                <a:gd name="T90" fmla="*/ 389 w 396"/>
                <a:gd name="T91" fmla="*/ 252 h 270"/>
                <a:gd name="T92" fmla="*/ 396 w 396"/>
                <a:gd name="T93" fmla="*/ 252 h 270"/>
                <a:gd name="T94" fmla="*/ 396 w 396"/>
                <a:gd name="T95" fmla="*/ 270 h 270"/>
                <a:gd name="T96" fmla="*/ 312 w 396"/>
                <a:gd name="T97"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6" h="270">
                  <a:moveTo>
                    <a:pt x="312" y="270"/>
                  </a:moveTo>
                  <a:cubicBezTo>
                    <a:pt x="312" y="108"/>
                    <a:pt x="312" y="108"/>
                    <a:pt x="312" y="108"/>
                  </a:cubicBezTo>
                  <a:cubicBezTo>
                    <a:pt x="312" y="75"/>
                    <a:pt x="309" y="54"/>
                    <a:pt x="305" y="44"/>
                  </a:cubicBezTo>
                  <a:cubicBezTo>
                    <a:pt x="298" y="31"/>
                    <a:pt x="288" y="25"/>
                    <a:pt x="275" y="25"/>
                  </a:cubicBezTo>
                  <a:cubicBezTo>
                    <a:pt x="259" y="25"/>
                    <a:pt x="246" y="34"/>
                    <a:pt x="236" y="52"/>
                  </a:cubicBezTo>
                  <a:cubicBezTo>
                    <a:pt x="231" y="62"/>
                    <a:pt x="227" y="73"/>
                    <a:pt x="225" y="84"/>
                  </a:cubicBezTo>
                  <a:cubicBezTo>
                    <a:pt x="224" y="93"/>
                    <a:pt x="223" y="109"/>
                    <a:pt x="223" y="134"/>
                  </a:cubicBezTo>
                  <a:cubicBezTo>
                    <a:pt x="223" y="205"/>
                    <a:pt x="223" y="205"/>
                    <a:pt x="223" y="205"/>
                  </a:cubicBezTo>
                  <a:cubicBezTo>
                    <a:pt x="223" y="226"/>
                    <a:pt x="226" y="240"/>
                    <a:pt x="230" y="245"/>
                  </a:cubicBezTo>
                  <a:cubicBezTo>
                    <a:pt x="234" y="250"/>
                    <a:pt x="242" y="252"/>
                    <a:pt x="252" y="252"/>
                  </a:cubicBezTo>
                  <a:cubicBezTo>
                    <a:pt x="261" y="252"/>
                    <a:pt x="261" y="252"/>
                    <a:pt x="261" y="252"/>
                  </a:cubicBezTo>
                  <a:cubicBezTo>
                    <a:pt x="261" y="270"/>
                    <a:pt x="261" y="270"/>
                    <a:pt x="261" y="270"/>
                  </a:cubicBezTo>
                  <a:cubicBezTo>
                    <a:pt x="175" y="270"/>
                    <a:pt x="175" y="270"/>
                    <a:pt x="175" y="270"/>
                  </a:cubicBezTo>
                  <a:cubicBezTo>
                    <a:pt x="175" y="117"/>
                    <a:pt x="175" y="117"/>
                    <a:pt x="175" y="117"/>
                  </a:cubicBezTo>
                  <a:cubicBezTo>
                    <a:pt x="175" y="91"/>
                    <a:pt x="174" y="74"/>
                    <a:pt x="173" y="66"/>
                  </a:cubicBezTo>
                  <a:cubicBezTo>
                    <a:pt x="169" y="39"/>
                    <a:pt x="157" y="25"/>
                    <a:pt x="137" y="25"/>
                  </a:cubicBezTo>
                  <a:cubicBezTo>
                    <a:pt x="121" y="25"/>
                    <a:pt x="108" y="34"/>
                    <a:pt x="99" y="53"/>
                  </a:cubicBezTo>
                  <a:cubicBezTo>
                    <a:pt x="94" y="62"/>
                    <a:pt x="91" y="71"/>
                    <a:pt x="89" y="81"/>
                  </a:cubicBezTo>
                  <a:cubicBezTo>
                    <a:pt x="87" y="91"/>
                    <a:pt x="86" y="108"/>
                    <a:pt x="86" y="134"/>
                  </a:cubicBezTo>
                  <a:cubicBezTo>
                    <a:pt x="86" y="205"/>
                    <a:pt x="86" y="205"/>
                    <a:pt x="86" y="205"/>
                  </a:cubicBezTo>
                  <a:cubicBezTo>
                    <a:pt x="86" y="227"/>
                    <a:pt x="89" y="240"/>
                    <a:pt x="93" y="245"/>
                  </a:cubicBezTo>
                  <a:cubicBezTo>
                    <a:pt x="97" y="250"/>
                    <a:pt x="105" y="252"/>
                    <a:pt x="116" y="252"/>
                  </a:cubicBezTo>
                  <a:cubicBezTo>
                    <a:pt x="124" y="252"/>
                    <a:pt x="124" y="252"/>
                    <a:pt x="124" y="252"/>
                  </a:cubicBezTo>
                  <a:cubicBezTo>
                    <a:pt x="124" y="270"/>
                    <a:pt x="124" y="270"/>
                    <a:pt x="124" y="270"/>
                  </a:cubicBezTo>
                  <a:cubicBezTo>
                    <a:pt x="0" y="270"/>
                    <a:pt x="0" y="270"/>
                    <a:pt x="0" y="270"/>
                  </a:cubicBezTo>
                  <a:cubicBezTo>
                    <a:pt x="0" y="252"/>
                    <a:pt x="0" y="252"/>
                    <a:pt x="0" y="252"/>
                  </a:cubicBezTo>
                  <a:cubicBezTo>
                    <a:pt x="9" y="252"/>
                    <a:pt x="9" y="252"/>
                    <a:pt x="9" y="252"/>
                  </a:cubicBezTo>
                  <a:cubicBezTo>
                    <a:pt x="19" y="252"/>
                    <a:pt x="27" y="250"/>
                    <a:pt x="31" y="245"/>
                  </a:cubicBezTo>
                  <a:cubicBezTo>
                    <a:pt x="36" y="240"/>
                    <a:pt x="38" y="226"/>
                    <a:pt x="38" y="205"/>
                  </a:cubicBezTo>
                  <a:cubicBezTo>
                    <a:pt x="38" y="69"/>
                    <a:pt x="38" y="69"/>
                    <a:pt x="38" y="69"/>
                  </a:cubicBezTo>
                  <a:cubicBezTo>
                    <a:pt x="38" y="49"/>
                    <a:pt x="36" y="36"/>
                    <a:pt x="31" y="30"/>
                  </a:cubicBezTo>
                  <a:cubicBezTo>
                    <a:pt x="27" y="26"/>
                    <a:pt x="19" y="24"/>
                    <a:pt x="9" y="24"/>
                  </a:cubicBezTo>
                  <a:cubicBezTo>
                    <a:pt x="2" y="24"/>
                    <a:pt x="2" y="24"/>
                    <a:pt x="2" y="24"/>
                  </a:cubicBezTo>
                  <a:cubicBezTo>
                    <a:pt x="2" y="6"/>
                    <a:pt x="2" y="6"/>
                    <a:pt x="2" y="6"/>
                  </a:cubicBezTo>
                  <a:cubicBezTo>
                    <a:pt x="83" y="2"/>
                    <a:pt x="83" y="2"/>
                    <a:pt x="83" y="2"/>
                  </a:cubicBezTo>
                  <a:cubicBezTo>
                    <a:pt x="83" y="49"/>
                    <a:pt x="83" y="49"/>
                    <a:pt x="83" y="49"/>
                  </a:cubicBezTo>
                  <a:cubicBezTo>
                    <a:pt x="87" y="39"/>
                    <a:pt x="92" y="31"/>
                    <a:pt x="99" y="23"/>
                  </a:cubicBezTo>
                  <a:cubicBezTo>
                    <a:pt x="113" y="8"/>
                    <a:pt x="130" y="0"/>
                    <a:pt x="150" y="0"/>
                  </a:cubicBezTo>
                  <a:cubicBezTo>
                    <a:pt x="181" y="0"/>
                    <a:pt x="203" y="18"/>
                    <a:pt x="217" y="52"/>
                  </a:cubicBezTo>
                  <a:cubicBezTo>
                    <a:pt x="234" y="18"/>
                    <a:pt x="257" y="0"/>
                    <a:pt x="288" y="0"/>
                  </a:cubicBezTo>
                  <a:cubicBezTo>
                    <a:pt x="314" y="0"/>
                    <a:pt x="333" y="10"/>
                    <a:pt x="346" y="30"/>
                  </a:cubicBezTo>
                  <a:cubicBezTo>
                    <a:pt x="353" y="41"/>
                    <a:pt x="357" y="53"/>
                    <a:pt x="358" y="66"/>
                  </a:cubicBezTo>
                  <a:cubicBezTo>
                    <a:pt x="359" y="77"/>
                    <a:pt x="360" y="89"/>
                    <a:pt x="360" y="102"/>
                  </a:cubicBezTo>
                  <a:cubicBezTo>
                    <a:pt x="360" y="205"/>
                    <a:pt x="360" y="205"/>
                    <a:pt x="360" y="205"/>
                  </a:cubicBezTo>
                  <a:cubicBezTo>
                    <a:pt x="360" y="226"/>
                    <a:pt x="362" y="240"/>
                    <a:pt x="367" y="245"/>
                  </a:cubicBezTo>
                  <a:cubicBezTo>
                    <a:pt x="371" y="250"/>
                    <a:pt x="378" y="252"/>
                    <a:pt x="389" y="252"/>
                  </a:cubicBezTo>
                  <a:cubicBezTo>
                    <a:pt x="396" y="252"/>
                    <a:pt x="396" y="252"/>
                    <a:pt x="396" y="252"/>
                  </a:cubicBezTo>
                  <a:cubicBezTo>
                    <a:pt x="396" y="270"/>
                    <a:pt x="396" y="270"/>
                    <a:pt x="396" y="270"/>
                  </a:cubicBezTo>
                  <a:lnTo>
                    <a:pt x="312" y="2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51"/>
            <p:cNvSpPr>
              <a:spLocks/>
            </p:cNvSpPr>
            <p:nvPr userDrawn="1"/>
          </p:nvSpPr>
          <p:spPr bwMode="auto">
            <a:xfrm>
              <a:off x="10071100" y="5716588"/>
              <a:ext cx="301625" cy="452438"/>
            </a:xfrm>
            <a:custGeom>
              <a:avLst/>
              <a:gdLst>
                <a:gd name="T0" fmla="*/ 168 w 184"/>
                <a:gd name="T1" fmla="*/ 6 h 275"/>
                <a:gd name="T2" fmla="*/ 168 w 184"/>
                <a:gd name="T3" fmla="*/ 89 h 275"/>
                <a:gd name="T4" fmla="*/ 151 w 184"/>
                <a:gd name="T5" fmla="*/ 89 h 275"/>
                <a:gd name="T6" fmla="*/ 84 w 184"/>
                <a:gd name="T7" fmla="*/ 17 h 275"/>
                <a:gd name="T8" fmla="*/ 53 w 184"/>
                <a:gd name="T9" fmla="*/ 28 h 275"/>
                <a:gd name="T10" fmla="*/ 41 w 184"/>
                <a:gd name="T11" fmla="*/ 57 h 275"/>
                <a:gd name="T12" fmla="*/ 58 w 184"/>
                <a:gd name="T13" fmla="*/ 88 h 275"/>
                <a:gd name="T14" fmla="*/ 88 w 184"/>
                <a:gd name="T15" fmla="*/ 101 h 275"/>
                <a:gd name="T16" fmla="*/ 152 w 184"/>
                <a:gd name="T17" fmla="*/ 128 h 275"/>
                <a:gd name="T18" fmla="*/ 184 w 184"/>
                <a:gd name="T19" fmla="*/ 191 h 275"/>
                <a:gd name="T20" fmla="*/ 156 w 184"/>
                <a:gd name="T21" fmla="*/ 255 h 275"/>
                <a:gd name="T22" fmla="*/ 98 w 184"/>
                <a:gd name="T23" fmla="*/ 275 h 275"/>
                <a:gd name="T24" fmla="*/ 59 w 184"/>
                <a:gd name="T25" fmla="*/ 268 h 275"/>
                <a:gd name="T26" fmla="*/ 33 w 184"/>
                <a:gd name="T27" fmla="*/ 254 h 275"/>
                <a:gd name="T28" fmla="*/ 26 w 184"/>
                <a:gd name="T29" fmla="*/ 252 h 275"/>
                <a:gd name="T30" fmla="*/ 16 w 184"/>
                <a:gd name="T31" fmla="*/ 270 h 275"/>
                <a:gd name="T32" fmla="*/ 0 w 184"/>
                <a:gd name="T33" fmla="*/ 270 h 275"/>
                <a:gd name="T34" fmla="*/ 0 w 184"/>
                <a:gd name="T35" fmla="*/ 172 h 275"/>
                <a:gd name="T36" fmla="*/ 16 w 184"/>
                <a:gd name="T37" fmla="*/ 172 h 275"/>
                <a:gd name="T38" fmla="*/ 37 w 184"/>
                <a:gd name="T39" fmla="*/ 224 h 275"/>
                <a:gd name="T40" fmla="*/ 63 w 184"/>
                <a:gd name="T41" fmla="*/ 248 h 275"/>
                <a:gd name="T42" fmla="*/ 97 w 184"/>
                <a:gd name="T43" fmla="*/ 257 h 275"/>
                <a:gd name="T44" fmla="*/ 131 w 184"/>
                <a:gd name="T45" fmla="*/ 242 h 275"/>
                <a:gd name="T46" fmla="*/ 144 w 184"/>
                <a:gd name="T47" fmla="*/ 210 h 275"/>
                <a:gd name="T48" fmla="*/ 120 w 184"/>
                <a:gd name="T49" fmla="*/ 170 h 275"/>
                <a:gd name="T50" fmla="*/ 69 w 184"/>
                <a:gd name="T51" fmla="*/ 149 h 275"/>
                <a:gd name="T52" fmla="*/ 28 w 184"/>
                <a:gd name="T53" fmla="*/ 128 h 275"/>
                <a:gd name="T54" fmla="*/ 2 w 184"/>
                <a:gd name="T55" fmla="*/ 72 h 275"/>
                <a:gd name="T56" fmla="*/ 26 w 184"/>
                <a:gd name="T57" fmla="*/ 19 h 275"/>
                <a:gd name="T58" fmla="*/ 80 w 184"/>
                <a:gd name="T59" fmla="*/ 0 h 275"/>
                <a:gd name="T60" fmla="*/ 134 w 184"/>
                <a:gd name="T61" fmla="*/ 16 h 275"/>
                <a:gd name="T62" fmla="*/ 142 w 184"/>
                <a:gd name="T63" fmla="*/ 19 h 275"/>
                <a:gd name="T64" fmla="*/ 151 w 184"/>
                <a:gd name="T65" fmla="*/ 6 h 275"/>
                <a:gd name="T66" fmla="*/ 168 w 184"/>
                <a:gd name="T67" fmla="*/ 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75">
                  <a:moveTo>
                    <a:pt x="168" y="6"/>
                  </a:moveTo>
                  <a:cubicBezTo>
                    <a:pt x="168" y="89"/>
                    <a:pt x="168" y="89"/>
                    <a:pt x="168" y="89"/>
                  </a:cubicBezTo>
                  <a:cubicBezTo>
                    <a:pt x="151" y="89"/>
                    <a:pt x="151" y="89"/>
                    <a:pt x="151" y="89"/>
                  </a:cubicBezTo>
                  <a:cubicBezTo>
                    <a:pt x="141" y="41"/>
                    <a:pt x="119" y="17"/>
                    <a:pt x="84" y="17"/>
                  </a:cubicBezTo>
                  <a:cubicBezTo>
                    <a:pt x="71" y="17"/>
                    <a:pt x="61" y="21"/>
                    <a:pt x="53" y="28"/>
                  </a:cubicBezTo>
                  <a:cubicBezTo>
                    <a:pt x="45" y="36"/>
                    <a:pt x="41" y="46"/>
                    <a:pt x="41" y="57"/>
                  </a:cubicBezTo>
                  <a:cubicBezTo>
                    <a:pt x="41" y="70"/>
                    <a:pt x="46" y="80"/>
                    <a:pt x="58" y="88"/>
                  </a:cubicBezTo>
                  <a:cubicBezTo>
                    <a:pt x="63" y="92"/>
                    <a:pt x="74" y="96"/>
                    <a:pt x="88" y="101"/>
                  </a:cubicBezTo>
                  <a:cubicBezTo>
                    <a:pt x="120" y="111"/>
                    <a:pt x="142" y="120"/>
                    <a:pt x="152" y="128"/>
                  </a:cubicBezTo>
                  <a:cubicBezTo>
                    <a:pt x="173" y="144"/>
                    <a:pt x="184" y="165"/>
                    <a:pt x="184" y="191"/>
                  </a:cubicBezTo>
                  <a:cubicBezTo>
                    <a:pt x="184" y="217"/>
                    <a:pt x="175" y="238"/>
                    <a:pt x="156" y="255"/>
                  </a:cubicBezTo>
                  <a:cubicBezTo>
                    <a:pt x="141" y="269"/>
                    <a:pt x="121" y="275"/>
                    <a:pt x="98" y="275"/>
                  </a:cubicBezTo>
                  <a:cubicBezTo>
                    <a:pt x="84" y="275"/>
                    <a:pt x="71" y="273"/>
                    <a:pt x="59" y="268"/>
                  </a:cubicBezTo>
                  <a:cubicBezTo>
                    <a:pt x="55" y="266"/>
                    <a:pt x="46" y="262"/>
                    <a:pt x="33" y="254"/>
                  </a:cubicBezTo>
                  <a:cubicBezTo>
                    <a:pt x="31" y="253"/>
                    <a:pt x="28" y="252"/>
                    <a:pt x="26" y="252"/>
                  </a:cubicBezTo>
                  <a:cubicBezTo>
                    <a:pt x="23" y="252"/>
                    <a:pt x="19" y="258"/>
                    <a:pt x="16" y="270"/>
                  </a:cubicBezTo>
                  <a:cubicBezTo>
                    <a:pt x="0" y="270"/>
                    <a:pt x="0" y="270"/>
                    <a:pt x="0" y="270"/>
                  </a:cubicBezTo>
                  <a:cubicBezTo>
                    <a:pt x="0" y="172"/>
                    <a:pt x="0" y="172"/>
                    <a:pt x="0" y="172"/>
                  </a:cubicBezTo>
                  <a:cubicBezTo>
                    <a:pt x="16" y="172"/>
                    <a:pt x="16" y="172"/>
                    <a:pt x="16" y="172"/>
                  </a:cubicBezTo>
                  <a:cubicBezTo>
                    <a:pt x="22" y="196"/>
                    <a:pt x="29" y="214"/>
                    <a:pt x="37" y="224"/>
                  </a:cubicBezTo>
                  <a:cubicBezTo>
                    <a:pt x="44" y="234"/>
                    <a:pt x="52" y="242"/>
                    <a:pt x="63" y="248"/>
                  </a:cubicBezTo>
                  <a:cubicBezTo>
                    <a:pt x="74" y="254"/>
                    <a:pt x="85" y="257"/>
                    <a:pt x="97" y="257"/>
                  </a:cubicBezTo>
                  <a:cubicBezTo>
                    <a:pt x="112" y="257"/>
                    <a:pt x="123" y="252"/>
                    <a:pt x="131" y="242"/>
                  </a:cubicBezTo>
                  <a:cubicBezTo>
                    <a:pt x="139" y="233"/>
                    <a:pt x="144" y="222"/>
                    <a:pt x="144" y="210"/>
                  </a:cubicBezTo>
                  <a:cubicBezTo>
                    <a:pt x="144" y="193"/>
                    <a:pt x="136" y="179"/>
                    <a:pt x="120" y="170"/>
                  </a:cubicBezTo>
                  <a:cubicBezTo>
                    <a:pt x="112" y="164"/>
                    <a:pt x="95" y="158"/>
                    <a:pt x="69" y="149"/>
                  </a:cubicBezTo>
                  <a:cubicBezTo>
                    <a:pt x="52" y="144"/>
                    <a:pt x="39" y="137"/>
                    <a:pt x="28" y="128"/>
                  </a:cubicBezTo>
                  <a:cubicBezTo>
                    <a:pt x="11" y="115"/>
                    <a:pt x="2" y="97"/>
                    <a:pt x="2" y="72"/>
                  </a:cubicBezTo>
                  <a:cubicBezTo>
                    <a:pt x="2" y="50"/>
                    <a:pt x="10" y="32"/>
                    <a:pt x="26" y="19"/>
                  </a:cubicBezTo>
                  <a:cubicBezTo>
                    <a:pt x="40" y="6"/>
                    <a:pt x="58" y="0"/>
                    <a:pt x="80" y="0"/>
                  </a:cubicBezTo>
                  <a:cubicBezTo>
                    <a:pt x="99" y="0"/>
                    <a:pt x="117" y="5"/>
                    <a:pt x="134" y="16"/>
                  </a:cubicBezTo>
                  <a:cubicBezTo>
                    <a:pt x="138" y="18"/>
                    <a:pt x="140" y="19"/>
                    <a:pt x="142" y="19"/>
                  </a:cubicBezTo>
                  <a:cubicBezTo>
                    <a:pt x="146" y="19"/>
                    <a:pt x="149" y="14"/>
                    <a:pt x="151" y="6"/>
                  </a:cubicBezTo>
                  <a:lnTo>
                    <a:pt x="16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52"/>
            <p:cNvSpPr>
              <a:spLocks/>
            </p:cNvSpPr>
            <p:nvPr userDrawn="1"/>
          </p:nvSpPr>
          <p:spPr bwMode="auto">
            <a:xfrm>
              <a:off x="10472738" y="5807075"/>
              <a:ext cx="131763" cy="133350"/>
            </a:xfrm>
            <a:custGeom>
              <a:avLst/>
              <a:gdLst>
                <a:gd name="T0" fmla="*/ 0 w 83"/>
                <a:gd name="T1" fmla="*/ 84 h 84"/>
                <a:gd name="T2" fmla="*/ 0 w 83"/>
                <a:gd name="T3" fmla="*/ 0 h 84"/>
                <a:gd name="T4" fmla="*/ 46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6"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750811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horizontal transpar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5058" name="Titelplatzhalter 1"/>
          <p:cNvSpPr>
            <a:spLocks noGrp="1"/>
          </p:cNvSpPr>
          <p:nvPr>
            <p:ph type="ctrTitle" hasCustomPrompt="1"/>
          </p:nvPr>
        </p:nvSpPr>
        <p:spPr bwMode="black">
          <a:xfrm>
            <a:off x="323851" y="3240087"/>
            <a:ext cx="10874374" cy="996634"/>
          </a:xfrm>
          <a:noFill/>
        </p:spPr>
        <p:txBody>
          <a:bodyPr wrap="square" lIns="0" tIns="144000">
            <a:noAutofit/>
          </a:bodyPr>
          <a:lstStyle>
            <a:lvl1pPr>
              <a:defRPr sz="6000" smtClean="0">
                <a:solidFill>
                  <a:schemeClr val="bg1"/>
                </a:solidFill>
                <a:latin typeface="TeleGrotesk Headline Ultra" pitchFamily="2" charset="0"/>
              </a:defRPr>
            </a:lvl1pPr>
          </a:lstStyle>
          <a:p>
            <a:r>
              <a:rPr lang="en-US" smtClean="0"/>
              <a:t>Headline </a:t>
            </a:r>
            <a:r>
              <a:rPr lang="en-US" dirty="0" smtClean="0"/>
              <a:t>Ultra (60) 75 90 PT</a:t>
            </a:r>
          </a:p>
        </p:txBody>
      </p:sp>
      <p:grpSp>
        <p:nvGrpSpPr>
          <p:cNvPr id="4" name="Gruppieren 3"/>
          <p:cNvGrpSpPr/>
          <p:nvPr userDrawn="1"/>
        </p:nvGrpSpPr>
        <p:grpSpPr>
          <a:xfrm>
            <a:off x="323850" y="5508625"/>
            <a:ext cx="4518026" cy="820738"/>
            <a:chOff x="323850" y="5508625"/>
            <a:chExt cx="4518026" cy="820738"/>
          </a:xfrm>
          <a:solidFill>
            <a:schemeClr val="bg1"/>
          </a:solidFill>
        </p:grpSpPr>
        <p:sp>
          <p:nvSpPr>
            <p:cNvPr id="5" name="Freeform 5"/>
            <p:cNvSpPr>
              <a:spLocks/>
            </p:cNvSpPr>
            <p:nvPr userDrawn="1"/>
          </p:nvSpPr>
          <p:spPr bwMode="auto">
            <a:xfrm>
              <a:off x="323850" y="5807075"/>
              <a:ext cx="131763" cy="133350"/>
            </a:xfrm>
            <a:custGeom>
              <a:avLst/>
              <a:gdLst>
                <a:gd name="T0" fmla="*/ 0 w 83"/>
                <a:gd name="T1" fmla="*/ 84 h 84"/>
                <a:gd name="T2" fmla="*/ 0 w 83"/>
                <a:gd name="T3" fmla="*/ 0 h 84"/>
                <a:gd name="T4" fmla="*/ 40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0"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6"/>
            <p:cNvSpPr>
              <a:spLocks/>
            </p:cNvSpPr>
            <p:nvPr userDrawn="1"/>
          </p:nvSpPr>
          <p:spPr bwMode="auto">
            <a:xfrm>
              <a:off x="725488" y="5807075"/>
              <a:ext cx="131763" cy="133350"/>
            </a:xfrm>
            <a:custGeom>
              <a:avLst/>
              <a:gdLst>
                <a:gd name="T0" fmla="*/ 0 w 83"/>
                <a:gd name="T1" fmla="*/ 84 h 84"/>
                <a:gd name="T2" fmla="*/ 0 w 83"/>
                <a:gd name="T3" fmla="*/ 0 h 84"/>
                <a:gd name="T4" fmla="*/ 45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5"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7"/>
            <p:cNvSpPr>
              <a:spLocks/>
            </p:cNvSpPr>
            <p:nvPr userDrawn="1"/>
          </p:nvSpPr>
          <p:spPr bwMode="auto">
            <a:xfrm>
              <a:off x="1120775" y="5807075"/>
              <a:ext cx="131763" cy="133350"/>
            </a:xfrm>
            <a:custGeom>
              <a:avLst/>
              <a:gdLst>
                <a:gd name="T0" fmla="*/ 0 w 83"/>
                <a:gd name="T1" fmla="*/ 84 h 84"/>
                <a:gd name="T2" fmla="*/ 0 w 83"/>
                <a:gd name="T3" fmla="*/ 0 h 84"/>
                <a:gd name="T4" fmla="*/ 42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2"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8"/>
            <p:cNvSpPr>
              <a:spLocks/>
            </p:cNvSpPr>
            <p:nvPr userDrawn="1"/>
          </p:nvSpPr>
          <p:spPr bwMode="auto">
            <a:xfrm>
              <a:off x="1514475" y="5807075"/>
              <a:ext cx="133350" cy="133350"/>
            </a:xfrm>
            <a:custGeom>
              <a:avLst/>
              <a:gdLst>
                <a:gd name="T0" fmla="*/ 0 w 84"/>
                <a:gd name="T1" fmla="*/ 84 h 84"/>
                <a:gd name="T2" fmla="*/ 0 w 84"/>
                <a:gd name="T3" fmla="*/ 0 h 84"/>
                <a:gd name="T4" fmla="*/ 39 w 84"/>
                <a:gd name="T5" fmla="*/ 0 h 84"/>
                <a:gd name="T6" fmla="*/ 84 w 84"/>
                <a:gd name="T7" fmla="*/ 0 h 84"/>
                <a:gd name="T8" fmla="*/ 84 w 84"/>
                <a:gd name="T9" fmla="*/ 84 h 84"/>
                <a:gd name="T10" fmla="*/ 0 w 84"/>
                <a:gd name="T11" fmla="*/ 84 h 84"/>
              </a:gdLst>
              <a:ahLst/>
              <a:cxnLst>
                <a:cxn ang="0">
                  <a:pos x="T0" y="T1"/>
                </a:cxn>
                <a:cxn ang="0">
                  <a:pos x="T2" y="T3"/>
                </a:cxn>
                <a:cxn ang="0">
                  <a:pos x="T4" y="T5"/>
                </a:cxn>
                <a:cxn ang="0">
                  <a:pos x="T6" y="T7"/>
                </a:cxn>
                <a:cxn ang="0">
                  <a:pos x="T8" y="T9"/>
                </a:cxn>
                <a:cxn ang="0">
                  <a:pos x="T10" y="T11"/>
                </a:cxn>
              </a:cxnLst>
              <a:rect l="0" t="0" r="r" b="b"/>
              <a:pathLst>
                <a:path w="84" h="84">
                  <a:moveTo>
                    <a:pt x="0" y="84"/>
                  </a:moveTo>
                  <a:lnTo>
                    <a:pt x="0" y="0"/>
                  </a:lnTo>
                  <a:lnTo>
                    <a:pt x="39" y="0"/>
                  </a:lnTo>
                  <a:lnTo>
                    <a:pt x="84" y="0"/>
                  </a:lnTo>
                  <a:lnTo>
                    <a:pt x="84"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9"/>
            <p:cNvSpPr>
              <a:spLocks/>
            </p:cNvSpPr>
            <p:nvPr userDrawn="1"/>
          </p:nvSpPr>
          <p:spPr bwMode="auto">
            <a:xfrm>
              <a:off x="323850" y="5508625"/>
              <a:ext cx="533400" cy="650875"/>
            </a:xfrm>
            <a:custGeom>
              <a:avLst/>
              <a:gdLst>
                <a:gd name="T0" fmla="*/ 322 w 325"/>
                <a:gd name="T1" fmla="*/ 0 h 397"/>
                <a:gd name="T2" fmla="*/ 4 w 325"/>
                <a:gd name="T3" fmla="*/ 0 h 397"/>
                <a:gd name="T4" fmla="*/ 0 w 325"/>
                <a:gd name="T5" fmla="*/ 140 h 397"/>
                <a:gd name="T6" fmla="*/ 21 w 325"/>
                <a:gd name="T7" fmla="*/ 143 h 397"/>
                <a:gd name="T8" fmla="*/ 54 w 325"/>
                <a:gd name="T9" fmla="*/ 52 h 397"/>
                <a:gd name="T10" fmla="*/ 131 w 325"/>
                <a:gd name="T11" fmla="*/ 19 h 397"/>
                <a:gd name="T12" fmla="*/ 131 w 325"/>
                <a:gd name="T13" fmla="*/ 312 h 397"/>
                <a:gd name="T14" fmla="*/ 120 w 325"/>
                <a:gd name="T15" fmla="*/ 362 h 397"/>
                <a:gd name="T16" fmla="*/ 88 w 325"/>
                <a:gd name="T17" fmla="*/ 374 h 397"/>
                <a:gd name="T18" fmla="*/ 65 w 325"/>
                <a:gd name="T19" fmla="*/ 374 h 397"/>
                <a:gd name="T20" fmla="*/ 65 w 325"/>
                <a:gd name="T21" fmla="*/ 397 h 397"/>
                <a:gd name="T22" fmla="*/ 261 w 325"/>
                <a:gd name="T23" fmla="*/ 397 h 397"/>
                <a:gd name="T24" fmla="*/ 261 w 325"/>
                <a:gd name="T25" fmla="*/ 374 h 397"/>
                <a:gd name="T26" fmla="*/ 238 w 325"/>
                <a:gd name="T27" fmla="*/ 374 h 397"/>
                <a:gd name="T28" fmla="*/ 206 w 325"/>
                <a:gd name="T29" fmla="*/ 362 h 397"/>
                <a:gd name="T30" fmla="*/ 194 w 325"/>
                <a:gd name="T31" fmla="*/ 312 h 397"/>
                <a:gd name="T32" fmla="*/ 194 w 325"/>
                <a:gd name="T33" fmla="*/ 19 h 397"/>
                <a:gd name="T34" fmla="*/ 272 w 325"/>
                <a:gd name="T35" fmla="*/ 52 h 397"/>
                <a:gd name="T36" fmla="*/ 304 w 325"/>
                <a:gd name="T37" fmla="*/ 143 h 397"/>
                <a:gd name="T38" fmla="*/ 325 w 325"/>
                <a:gd name="T39" fmla="*/ 140 h 397"/>
                <a:gd name="T40" fmla="*/ 322 w 325"/>
                <a:gd name="T41"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 h="397">
                  <a:moveTo>
                    <a:pt x="322" y="0"/>
                  </a:moveTo>
                  <a:cubicBezTo>
                    <a:pt x="4" y="0"/>
                    <a:pt x="4" y="0"/>
                    <a:pt x="4" y="0"/>
                  </a:cubicBezTo>
                  <a:cubicBezTo>
                    <a:pt x="0" y="140"/>
                    <a:pt x="0" y="140"/>
                    <a:pt x="0" y="140"/>
                  </a:cubicBezTo>
                  <a:cubicBezTo>
                    <a:pt x="21" y="143"/>
                    <a:pt x="21" y="143"/>
                    <a:pt x="21" y="143"/>
                  </a:cubicBezTo>
                  <a:cubicBezTo>
                    <a:pt x="25" y="102"/>
                    <a:pt x="36" y="72"/>
                    <a:pt x="54" y="52"/>
                  </a:cubicBezTo>
                  <a:cubicBezTo>
                    <a:pt x="72" y="31"/>
                    <a:pt x="98" y="20"/>
                    <a:pt x="131" y="19"/>
                  </a:cubicBezTo>
                  <a:cubicBezTo>
                    <a:pt x="131" y="312"/>
                    <a:pt x="131" y="312"/>
                    <a:pt x="131" y="312"/>
                  </a:cubicBezTo>
                  <a:cubicBezTo>
                    <a:pt x="131" y="337"/>
                    <a:pt x="127" y="354"/>
                    <a:pt x="120" y="362"/>
                  </a:cubicBezTo>
                  <a:cubicBezTo>
                    <a:pt x="114" y="368"/>
                    <a:pt x="103" y="372"/>
                    <a:pt x="88" y="374"/>
                  </a:cubicBezTo>
                  <a:cubicBezTo>
                    <a:pt x="83" y="374"/>
                    <a:pt x="76" y="374"/>
                    <a:pt x="65" y="374"/>
                  </a:cubicBezTo>
                  <a:cubicBezTo>
                    <a:pt x="65" y="397"/>
                    <a:pt x="65" y="397"/>
                    <a:pt x="65" y="397"/>
                  </a:cubicBezTo>
                  <a:cubicBezTo>
                    <a:pt x="261" y="397"/>
                    <a:pt x="261" y="397"/>
                    <a:pt x="261" y="397"/>
                  </a:cubicBezTo>
                  <a:cubicBezTo>
                    <a:pt x="261" y="374"/>
                    <a:pt x="261" y="374"/>
                    <a:pt x="261" y="374"/>
                  </a:cubicBezTo>
                  <a:cubicBezTo>
                    <a:pt x="250" y="374"/>
                    <a:pt x="242" y="374"/>
                    <a:pt x="238" y="374"/>
                  </a:cubicBezTo>
                  <a:cubicBezTo>
                    <a:pt x="223" y="372"/>
                    <a:pt x="212" y="368"/>
                    <a:pt x="206" y="362"/>
                  </a:cubicBezTo>
                  <a:cubicBezTo>
                    <a:pt x="198" y="354"/>
                    <a:pt x="194" y="337"/>
                    <a:pt x="194" y="312"/>
                  </a:cubicBezTo>
                  <a:cubicBezTo>
                    <a:pt x="194" y="19"/>
                    <a:pt x="194" y="19"/>
                    <a:pt x="194" y="19"/>
                  </a:cubicBezTo>
                  <a:cubicBezTo>
                    <a:pt x="228" y="20"/>
                    <a:pt x="253" y="31"/>
                    <a:pt x="272" y="52"/>
                  </a:cubicBezTo>
                  <a:cubicBezTo>
                    <a:pt x="290" y="72"/>
                    <a:pt x="301" y="102"/>
                    <a:pt x="304" y="143"/>
                  </a:cubicBezTo>
                  <a:cubicBezTo>
                    <a:pt x="325" y="140"/>
                    <a:pt x="325" y="140"/>
                    <a:pt x="325" y="140"/>
                  </a:cubicBezTo>
                  <a:lnTo>
                    <a:pt x="3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10"/>
            <p:cNvSpPr>
              <a:spLocks/>
            </p:cNvSpPr>
            <p:nvPr userDrawn="1"/>
          </p:nvSpPr>
          <p:spPr bwMode="auto">
            <a:xfrm>
              <a:off x="1762125" y="5518150"/>
              <a:ext cx="392113" cy="657225"/>
            </a:xfrm>
            <a:custGeom>
              <a:avLst/>
              <a:gdLst>
                <a:gd name="T0" fmla="*/ 202 w 239"/>
                <a:gd name="T1" fmla="*/ 134 h 400"/>
                <a:gd name="T2" fmla="*/ 175 w 239"/>
                <a:gd name="T3" fmla="*/ 59 h 400"/>
                <a:gd name="T4" fmla="*/ 108 w 239"/>
                <a:gd name="T5" fmla="*/ 20 h 400"/>
                <a:gd name="T6" fmla="*/ 66 w 239"/>
                <a:gd name="T7" fmla="*/ 35 h 400"/>
                <a:gd name="T8" fmla="*/ 45 w 239"/>
                <a:gd name="T9" fmla="*/ 84 h 400"/>
                <a:gd name="T10" fmla="*/ 68 w 239"/>
                <a:gd name="T11" fmla="*/ 134 h 400"/>
                <a:gd name="T12" fmla="*/ 120 w 239"/>
                <a:gd name="T13" fmla="*/ 159 h 400"/>
                <a:gd name="T14" fmla="*/ 198 w 239"/>
                <a:gd name="T15" fmla="*/ 193 h 400"/>
                <a:gd name="T16" fmla="*/ 239 w 239"/>
                <a:gd name="T17" fmla="*/ 279 h 400"/>
                <a:gd name="T18" fmla="*/ 205 w 239"/>
                <a:gd name="T19" fmla="*/ 367 h 400"/>
                <a:gd name="T20" fmla="*/ 127 w 239"/>
                <a:gd name="T21" fmla="*/ 400 h 400"/>
                <a:gd name="T22" fmla="*/ 82 w 239"/>
                <a:gd name="T23" fmla="*/ 391 h 400"/>
                <a:gd name="T24" fmla="*/ 52 w 239"/>
                <a:gd name="T25" fmla="*/ 374 h 400"/>
                <a:gd name="T26" fmla="*/ 40 w 239"/>
                <a:gd name="T27" fmla="*/ 370 h 400"/>
                <a:gd name="T28" fmla="*/ 26 w 239"/>
                <a:gd name="T29" fmla="*/ 378 h 400"/>
                <a:gd name="T30" fmla="*/ 18 w 239"/>
                <a:gd name="T31" fmla="*/ 391 h 400"/>
                <a:gd name="T32" fmla="*/ 0 w 239"/>
                <a:gd name="T33" fmla="*/ 391 h 400"/>
                <a:gd name="T34" fmla="*/ 0 w 239"/>
                <a:gd name="T35" fmla="*/ 252 h 400"/>
                <a:gd name="T36" fmla="*/ 19 w 239"/>
                <a:gd name="T37" fmla="*/ 252 h 400"/>
                <a:gd name="T38" fmla="*/ 46 w 239"/>
                <a:gd name="T39" fmla="*/ 332 h 400"/>
                <a:gd name="T40" fmla="*/ 124 w 239"/>
                <a:gd name="T41" fmla="*/ 379 h 400"/>
                <a:gd name="T42" fmla="*/ 171 w 239"/>
                <a:gd name="T43" fmla="*/ 363 h 400"/>
                <a:gd name="T44" fmla="*/ 195 w 239"/>
                <a:gd name="T45" fmla="*/ 304 h 400"/>
                <a:gd name="T46" fmla="*/ 158 w 239"/>
                <a:gd name="T47" fmla="*/ 239 h 400"/>
                <a:gd name="T48" fmla="*/ 94 w 239"/>
                <a:gd name="T49" fmla="*/ 214 h 400"/>
                <a:gd name="T50" fmla="*/ 35 w 239"/>
                <a:gd name="T51" fmla="*/ 183 h 400"/>
                <a:gd name="T52" fmla="*/ 3 w 239"/>
                <a:gd name="T53" fmla="*/ 107 h 400"/>
                <a:gd name="T54" fmla="*/ 38 w 239"/>
                <a:gd name="T55" fmla="*/ 25 h 400"/>
                <a:gd name="T56" fmla="*/ 105 w 239"/>
                <a:gd name="T57" fmla="*/ 0 h 400"/>
                <a:gd name="T58" fmla="*/ 148 w 239"/>
                <a:gd name="T59" fmla="*/ 8 h 400"/>
                <a:gd name="T60" fmla="*/ 175 w 239"/>
                <a:gd name="T61" fmla="*/ 23 h 400"/>
                <a:gd name="T62" fmla="*/ 185 w 239"/>
                <a:gd name="T63" fmla="*/ 26 h 400"/>
                <a:gd name="T64" fmla="*/ 203 w 239"/>
                <a:gd name="T65" fmla="*/ 8 h 400"/>
                <a:gd name="T66" fmla="*/ 219 w 239"/>
                <a:gd name="T67" fmla="*/ 8 h 400"/>
                <a:gd name="T68" fmla="*/ 219 w 239"/>
                <a:gd name="T69" fmla="*/ 134 h 400"/>
                <a:gd name="T70" fmla="*/ 202 w 239"/>
                <a:gd name="T71" fmla="*/ 13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9" h="400">
                  <a:moveTo>
                    <a:pt x="202" y="134"/>
                  </a:moveTo>
                  <a:cubicBezTo>
                    <a:pt x="195" y="100"/>
                    <a:pt x="186" y="75"/>
                    <a:pt x="175" y="59"/>
                  </a:cubicBezTo>
                  <a:cubicBezTo>
                    <a:pt x="158" y="33"/>
                    <a:pt x="135" y="20"/>
                    <a:pt x="108" y="20"/>
                  </a:cubicBezTo>
                  <a:cubicBezTo>
                    <a:pt x="91" y="20"/>
                    <a:pt x="77" y="25"/>
                    <a:pt x="66" y="35"/>
                  </a:cubicBezTo>
                  <a:cubicBezTo>
                    <a:pt x="52" y="47"/>
                    <a:pt x="45" y="63"/>
                    <a:pt x="45" y="84"/>
                  </a:cubicBezTo>
                  <a:cubicBezTo>
                    <a:pt x="45" y="105"/>
                    <a:pt x="53" y="122"/>
                    <a:pt x="68" y="134"/>
                  </a:cubicBezTo>
                  <a:cubicBezTo>
                    <a:pt x="77" y="142"/>
                    <a:pt x="94" y="150"/>
                    <a:pt x="120" y="159"/>
                  </a:cubicBezTo>
                  <a:cubicBezTo>
                    <a:pt x="159" y="172"/>
                    <a:pt x="184" y="184"/>
                    <a:pt x="198" y="193"/>
                  </a:cubicBezTo>
                  <a:cubicBezTo>
                    <a:pt x="225" y="214"/>
                    <a:pt x="239" y="243"/>
                    <a:pt x="239" y="279"/>
                  </a:cubicBezTo>
                  <a:cubicBezTo>
                    <a:pt x="239" y="314"/>
                    <a:pt x="228" y="344"/>
                    <a:pt x="205" y="367"/>
                  </a:cubicBezTo>
                  <a:cubicBezTo>
                    <a:pt x="184" y="389"/>
                    <a:pt x="158" y="400"/>
                    <a:pt x="127" y="400"/>
                  </a:cubicBezTo>
                  <a:cubicBezTo>
                    <a:pt x="111" y="400"/>
                    <a:pt x="96" y="397"/>
                    <a:pt x="82" y="391"/>
                  </a:cubicBezTo>
                  <a:cubicBezTo>
                    <a:pt x="76" y="388"/>
                    <a:pt x="66" y="383"/>
                    <a:pt x="52" y="374"/>
                  </a:cubicBezTo>
                  <a:cubicBezTo>
                    <a:pt x="48" y="372"/>
                    <a:pt x="44" y="370"/>
                    <a:pt x="40" y="370"/>
                  </a:cubicBezTo>
                  <a:cubicBezTo>
                    <a:pt x="34" y="370"/>
                    <a:pt x="30" y="373"/>
                    <a:pt x="26" y="378"/>
                  </a:cubicBezTo>
                  <a:cubicBezTo>
                    <a:pt x="24" y="381"/>
                    <a:pt x="21" y="385"/>
                    <a:pt x="18" y="391"/>
                  </a:cubicBezTo>
                  <a:cubicBezTo>
                    <a:pt x="0" y="391"/>
                    <a:pt x="0" y="391"/>
                    <a:pt x="0" y="391"/>
                  </a:cubicBezTo>
                  <a:cubicBezTo>
                    <a:pt x="0" y="252"/>
                    <a:pt x="0" y="252"/>
                    <a:pt x="0" y="252"/>
                  </a:cubicBezTo>
                  <a:cubicBezTo>
                    <a:pt x="19" y="252"/>
                    <a:pt x="19" y="252"/>
                    <a:pt x="19" y="252"/>
                  </a:cubicBezTo>
                  <a:cubicBezTo>
                    <a:pt x="25" y="287"/>
                    <a:pt x="35" y="314"/>
                    <a:pt x="46" y="332"/>
                  </a:cubicBezTo>
                  <a:cubicBezTo>
                    <a:pt x="66" y="364"/>
                    <a:pt x="92" y="379"/>
                    <a:pt x="124" y="379"/>
                  </a:cubicBezTo>
                  <a:cubicBezTo>
                    <a:pt x="143" y="379"/>
                    <a:pt x="159" y="374"/>
                    <a:pt x="171" y="363"/>
                  </a:cubicBezTo>
                  <a:cubicBezTo>
                    <a:pt x="187" y="348"/>
                    <a:pt x="195" y="329"/>
                    <a:pt x="195" y="304"/>
                  </a:cubicBezTo>
                  <a:cubicBezTo>
                    <a:pt x="195" y="275"/>
                    <a:pt x="183" y="253"/>
                    <a:pt x="158" y="239"/>
                  </a:cubicBezTo>
                  <a:cubicBezTo>
                    <a:pt x="150" y="234"/>
                    <a:pt x="129" y="226"/>
                    <a:pt x="94" y="214"/>
                  </a:cubicBezTo>
                  <a:cubicBezTo>
                    <a:pt x="69" y="206"/>
                    <a:pt x="49" y="195"/>
                    <a:pt x="35" y="183"/>
                  </a:cubicBezTo>
                  <a:cubicBezTo>
                    <a:pt x="14" y="164"/>
                    <a:pt x="3" y="139"/>
                    <a:pt x="3" y="107"/>
                  </a:cubicBezTo>
                  <a:cubicBezTo>
                    <a:pt x="3" y="72"/>
                    <a:pt x="15" y="45"/>
                    <a:pt x="38" y="25"/>
                  </a:cubicBezTo>
                  <a:cubicBezTo>
                    <a:pt x="56" y="8"/>
                    <a:pt x="79" y="0"/>
                    <a:pt x="105" y="0"/>
                  </a:cubicBezTo>
                  <a:cubicBezTo>
                    <a:pt x="119" y="0"/>
                    <a:pt x="134" y="2"/>
                    <a:pt x="148" y="8"/>
                  </a:cubicBezTo>
                  <a:cubicBezTo>
                    <a:pt x="153" y="10"/>
                    <a:pt x="162" y="15"/>
                    <a:pt x="175" y="23"/>
                  </a:cubicBezTo>
                  <a:cubicBezTo>
                    <a:pt x="179" y="25"/>
                    <a:pt x="182" y="26"/>
                    <a:pt x="185" y="26"/>
                  </a:cubicBezTo>
                  <a:cubicBezTo>
                    <a:pt x="191" y="26"/>
                    <a:pt x="197" y="20"/>
                    <a:pt x="203" y="8"/>
                  </a:cubicBezTo>
                  <a:cubicBezTo>
                    <a:pt x="219" y="8"/>
                    <a:pt x="219" y="8"/>
                    <a:pt x="219" y="8"/>
                  </a:cubicBezTo>
                  <a:cubicBezTo>
                    <a:pt x="219" y="134"/>
                    <a:pt x="219" y="134"/>
                    <a:pt x="219" y="134"/>
                  </a:cubicBezTo>
                  <a:lnTo>
                    <a:pt x="202"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1"/>
            <p:cNvSpPr>
              <a:spLocks/>
            </p:cNvSpPr>
            <p:nvPr userDrawn="1"/>
          </p:nvSpPr>
          <p:spPr bwMode="auto">
            <a:xfrm>
              <a:off x="2181225" y="5727700"/>
              <a:ext cx="422275" cy="601663"/>
            </a:xfrm>
            <a:custGeom>
              <a:avLst/>
              <a:gdLst>
                <a:gd name="T0" fmla="*/ 0 w 258"/>
                <a:gd name="T1" fmla="*/ 0 h 367"/>
                <a:gd name="T2" fmla="*/ 119 w 258"/>
                <a:gd name="T3" fmla="*/ 0 h 367"/>
                <a:gd name="T4" fmla="*/ 119 w 258"/>
                <a:gd name="T5" fmla="*/ 18 h 367"/>
                <a:gd name="T6" fmla="*/ 109 w 258"/>
                <a:gd name="T7" fmla="*/ 18 h 367"/>
                <a:gd name="T8" fmla="*/ 86 w 258"/>
                <a:gd name="T9" fmla="*/ 30 h 367"/>
                <a:gd name="T10" fmla="*/ 90 w 258"/>
                <a:gd name="T11" fmla="*/ 46 h 367"/>
                <a:gd name="T12" fmla="*/ 147 w 258"/>
                <a:gd name="T13" fmla="*/ 196 h 367"/>
                <a:gd name="T14" fmla="*/ 197 w 258"/>
                <a:gd name="T15" fmla="*/ 57 h 367"/>
                <a:gd name="T16" fmla="*/ 202 w 258"/>
                <a:gd name="T17" fmla="*/ 34 h 367"/>
                <a:gd name="T18" fmla="*/ 177 w 258"/>
                <a:gd name="T19" fmla="*/ 18 h 367"/>
                <a:gd name="T20" fmla="*/ 164 w 258"/>
                <a:gd name="T21" fmla="*/ 18 h 367"/>
                <a:gd name="T22" fmla="*/ 164 w 258"/>
                <a:gd name="T23" fmla="*/ 0 h 367"/>
                <a:gd name="T24" fmla="*/ 258 w 258"/>
                <a:gd name="T25" fmla="*/ 0 h 367"/>
                <a:gd name="T26" fmla="*/ 258 w 258"/>
                <a:gd name="T27" fmla="*/ 18 h 367"/>
                <a:gd name="T28" fmla="*/ 252 w 258"/>
                <a:gd name="T29" fmla="*/ 18 h 367"/>
                <a:gd name="T30" fmla="*/ 235 w 258"/>
                <a:gd name="T31" fmla="*/ 26 h 367"/>
                <a:gd name="T32" fmla="*/ 226 w 258"/>
                <a:gd name="T33" fmla="*/ 44 h 367"/>
                <a:gd name="T34" fmla="*/ 131 w 258"/>
                <a:gd name="T35" fmla="*/ 299 h 367"/>
                <a:gd name="T36" fmla="*/ 101 w 258"/>
                <a:gd name="T37" fmla="*/ 351 h 367"/>
                <a:gd name="T38" fmla="*/ 60 w 258"/>
                <a:gd name="T39" fmla="*/ 367 h 367"/>
                <a:gd name="T40" fmla="*/ 25 w 258"/>
                <a:gd name="T41" fmla="*/ 355 h 367"/>
                <a:gd name="T42" fmla="*/ 7 w 258"/>
                <a:gd name="T43" fmla="*/ 318 h 367"/>
                <a:gd name="T44" fmla="*/ 15 w 258"/>
                <a:gd name="T45" fmla="*/ 295 h 367"/>
                <a:gd name="T46" fmla="*/ 38 w 258"/>
                <a:gd name="T47" fmla="*/ 285 h 367"/>
                <a:gd name="T48" fmla="*/ 62 w 258"/>
                <a:gd name="T49" fmla="*/ 296 h 367"/>
                <a:gd name="T50" fmla="*/ 67 w 258"/>
                <a:gd name="T51" fmla="*/ 313 h 367"/>
                <a:gd name="T52" fmla="*/ 58 w 258"/>
                <a:gd name="T53" fmla="*/ 334 h 367"/>
                <a:gd name="T54" fmla="*/ 43 w 258"/>
                <a:gd name="T55" fmla="*/ 341 h 367"/>
                <a:gd name="T56" fmla="*/ 61 w 258"/>
                <a:gd name="T57" fmla="*/ 348 h 367"/>
                <a:gd name="T58" fmla="*/ 90 w 258"/>
                <a:gd name="T59" fmla="*/ 335 h 367"/>
                <a:gd name="T60" fmla="*/ 115 w 258"/>
                <a:gd name="T61" fmla="*/ 284 h 367"/>
                <a:gd name="T62" fmla="*/ 121 w 258"/>
                <a:gd name="T63" fmla="*/ 266 h 367"/>
                <a:gd name="T64" fmla="*/ 42 w 258"/>
                <a:gd name="T65" fmla="*/ 55 h 367"/>
                <a:gd name="T66" fmla="*/ 27 w 258"/>
                <a:gd name="T67" fmla="*/ 24 h 367"/>
                <a:gd name="T68" fmla="*/ 4 w 258"/>
                <a:gd name="T69" fmla="*/ 18 h 367"/>
                <a:gd name="T70" fmla="*/ 0 w 258"/>
                <a:gd name="T71" fmla="*/ 18 h 367"/>
                <a:gd name="T72" fmla="*/ 0 w 258"/>
                <a:gd name="T73"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8" h="367">
                  <a:moveTo>
                    <a:pt x="0" y="0"/>
                  </a:moveTo>
                  <a:cubicBezTo>
                    <a:pt x="119" y="0"/>
                    <a:pt x="119" y="0"/>
                    <a:pt x="119" y="0"/>
                  </a:cubicBezTo>
                  <a:cubicBezTo>
                    <a:pt x="119" y="18"/>
                    <a:pt x="119" y="18"/>
                    <a:pt x="119" y="18"/>
                  </a:cubicBezTo>
                  <a:cubicBezTo>
                    <a:pt x="109" y="18"/>
                    <a:pt x="109" y="18"/>
                    <a:pt x="109" y="18"/>
                  </a:cubicBezTo>
                  <a:cubicBezTo>
                    <a:pt x="93" y="18"/>
                    <a:pt x="86" y="22"/>
                    <a:pt x="86" y="30"/>
                  </a:cubicBezTo>
                  <a:cubicBezTo>
                    <a:pt x="86" y="34"/>
                    <a:pt x="87" y="39"/>
                    <a:pt x="90" y="46"/>
                  </a:cubicBezTo>
                  <a:cubicBezTo>
                    <a:pt x="147" y="196"/>
                    <a:pt x="147" y="196"/>
                    <a:pt x="147" y="196"/>
                  </a:cubicBezTo>
                  <a:cubicBezTo>
                    <a:pt x="197" y="57"/>
                    <a:pt x="197" y="57"/>
                    <a:pt x="197" y="57"/>
                  </a:cubicBezTo>
                  <a:cubicBezTo>
                    <a:pt x="200" y="47"/>
                    <a:pt x="202" y="39"/>
                    <a:pt x="202" y="34"/>
                  </a:cubicBezTo>
                  <a:cubicBezTo>
                    <a:pt x="202" y="23"/>
                    <a:pt x="194" y="18"/>
                    <a:pt x="177" y="18"/>
                  </a:cubicBezTo>
                  <a:cubicBezTo>
                    <a:pt x="164" y="18"/>
                    <a:pt x="164" y="18"/>
                    <a:pt x="164" y="18"/>
                  </a:cubicBezTo>
                  <a:cubicBezTo>
                    <a:pt x="164" y="0"/>
                    <a:pt x="164" y="0"/>
                    <a:pt x="164" y="0"/>
                  </a:cubicBezTo>
                  <a:cubicBezTo>
                    <a:pt x="258" y="0"/>
                    <a:pt x="258" y="0"/>
                    <a:pt x="258" y="0"/>
                  </a:cubicBezTo>
                  <a:cubicBezTo>
                    <a:pt x="258" y="18"/>
                    <a:pt x="258" y="18"/>
                    <a:pt x="258" y="18"/>
                  </a:cubicBezTo>
                  <a:cubicBezTo>
                    <a:pt x="252" y="18"/>
                    <a:pt x="252" y="18"/>
                    <a:pt x="252" y="18"/>
                  </a:cubicBezTo>
                  <a:cubicBezTo>
                    <a:pt x="245" y="18"/>
                    <a:pt x="240" y="20"/>
                    <a:pt x="235" y="26"/>
                  </a:cubicBezTo>
                  <a:cubicBezTo>
                    <a:pt x="232" y="29"/>
                    <a:pt x="229" y="36"/>
                    <a:pt x="226" y="44"/>
                  </a:cubicBezTo>
                  <a:cubicBezTo>
                    <a:pt x="131" y="299"/>
                    <a:pt x="131" y="299"/>
                    <a:pt x="131" y="299"/>
                  </a:cubicBezTo>
                  <a:cubicBezTo>
                    <a:pt x="122" y="323"/>
                    <a:pt x="112" y="340"/>
                    <a:pt x="101" y="351"/>
                  </a:cubicBezTo>
                  <a:cubicBezTo>
                    <a:pt x="90" y="362"/>
                    <a:pt x="76" y="367"/>
                    <a:pt x="60" y="367"/>
                  </a:cubicBezTo>
                  <a:cubicBezTo>
                    <a:pt x="46" y="367"/>
                    <a:pt x="34" y="363"/>
                    <a:pt x="25" y="355"/>
                  </a:cubicBezTo>
                  <a:cubicBezTo>
                    <a:pt x="13" y="345"/>
                    <a:pt x="7" y="333"/>
                    <a:pt x="7" y="318"/>
                  </a:cubicBezTo>
                  <a:cubicBezTo>
                    <a:pt x="7" y="309"/>
                    <a:pt x="10" y="301"/>
                    <a:pt x="15" y="295"/>
                  </a:cubicBezTo>
                  <a:cubicBezTo>
                    <a:pt x="21" y="288"/>
                    <a:pt x="28" y="285"/>
                    <a:pt x="38" y="285"/>
                  </a:cubicBezTo>
                  <a:cubicBezTo>
                    <a:pt x="49" y="285"/>
                    <a:pt x="57" y="289"/>
                    <a:pt x="62" y="296"/>
                  </a:cubicBezTo>
                  <a:cubicBezTo>
                    <a:pt x="66" y="301"/>
                    <a:pt x="67" y="306"/>
                    <a:pt x="67" y="313"/>
                  </a:cubicBezTo>
                  <a:cubicBezTo>
                    <a:pt x="67" y="321"/>
                    <a:pt x="64" y="328"/>
                    <a:pt x="58" y="334"/>
                  </a:cubicBezTo>
                  <a:cubicBezTo>
                    <a:pt x="54" y="337"/>
                    <a:pt x="49" y="340"/>
                    <a:pt x="43" y="341"/>
                  </a:cubicBezTo>
                  <a:cubicBezTo>
                    <a:pt x="48" y="345"/>
                    <a:pt x="53" y="348"/>
                    <a:pt x="61" y="348"/>
                  </a:cubicBezTo>
                  <a:cubicBezTo>
                    <a:pt x="72" y="348"/>
                    <a:pt x="82" y="343"/>
                    <a:pt x="90" y="335"/>
                  </a:cubicBezTo>
                  <a:cubicBezTo>
                    <a:pt x="97" y="327"/>
                    <a:pt x="106" y="310"/>
                    <a:pt x="115" y="284"/>
                  </a:cubicBezTo>
                  <a:cubicBezTo>
                    <a:pt x="121" y="266"/>
                    <a:pt x="121" y="266"/>
                    <a:pt x="121" y="266"/>
                  </a:cubicBezTo>
                  <a:cubicBezTo>
                    <a:pt x="42" y="55"/>
                    <a:pt x="42" y="55"/>
                    <a:pt x="42" y="55"/>
                  </a:cubicBezTo>
                  <a:cubicBezTo>
                    <a:pt x="36" y="38"/>
                    <a:pt x="31" y="28"/>
                    <a:pt x="27" y="24"/>
                  </a:cubicBezTo>
                  <a:cubicBezTo>
                    <a:pt x="21" y="20"/>
                    <a:pt x="14" y="18"/>
                    <a:pt x="4" y="18"/>
                  </a:cubicBezTo>
                  <a:cubicBezTo>
                    <a:pt x="0" y="18"/>
                    <a:pt x="0" y="18"/>
                    <a:pt x="0" y="18"/>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2"/>
            <p:cNvSpPr>
              <a:spLocks/>
            </p:cNvSpPr>
            <p:nvPr userDrawn="1"/>
          </p:nvSpPr>
          <p:spPr bwMode="auto">
            <a:xfrm>
              <a:off x="2609850" y="5716588"/>
              <a:ext cx="301625" cy="452438"/>
            </a:xfrm>
            <a:custGeom>
              <a:avLst/>
              <a:gdLst>
                <a:gd name="T0" fmla="*/ 168 w 184"/>
                <a:gd name="T1" fmla="*/ 6 h 275"/>
                <a:gd name="T2" fmla="*/ 168 w 184"/>
                <a:gd name="T3" fmla="*/ 89 h 275"/>
                <a:gd name="T4" fmla="*/ 151 w 184"/>
                <a:gd name="T5" fmla="*/ 89 h 275"/>
                <a:gd name="T6" fmla="*/ 84 w 184"/>
                <a:gd name="T7" fmla="*/ 17 h 275"/>
                <a:gd name="T8" fmla="*/ 53 w 184"/>
                <a:gd name="T9" fmla="*/ 28 h 275"/>
                <a:gd name="T10" fmla="*/ 41 w 184"/>
                <a:gd name="T11" fmla="*/ 57 h 275"/>
                <a:gd name="T12" fmla="*/ 58 w 184"/>
                <a:gd name="T13" fmla="*/ 88 h 275"/>
                <a:gd name="T14" fmla="*/ 89 w 184"/>
                <a:gd name="T15" fmla="*/ 101 h 275"/>
                <a:gd name="T16" fmla="*/ 152 w 184"/>
                <a:gd name="T17" fmla="*/ 128 h 275"/>
                <a:gd name="T18" fmla="*/ 184 w 184"/>
                <a:gd name="T19" fmla="*/ 191 h 275"/>
                <a:gd name="T20" fmla="*/ 157 w 184"/>
                <a:gd name="T21" fmla="*/ 255 h 275"/>
                <a:gd name="T22" fmla="*/ 98 w 184"/>
                <a:gd name="T23" fmla="*/ 275 h 275"/>
                <a:gd name="T24" fmla="*/ 60 w 184"/>
                <a:gd name="T25" fmla="*/ 268 h 275"/>
                <a:gd name="T26" fmla="*/ 34 w 184"/>
                <a:gd name="T27" fmla="*/ 254 h 275"/>
                <a:gd name="T28" fmla="*/ 26 w 184"/>
                <a:gd name="T29" fmla="*/ 252 h 275"/>
                <a:gd name="T30" fmla="*/ 16 w 184"/>
                <a:gd name="T31" fmla="*/ 270 h 275"/>
                <a:gd name="T32" fmla="*/ 0 w 184"/>
                <a:gd name="T33" fmla="*/ 270 h 275"/>
                <a:gd name="T34" fmla="*/ 0 w 184"/>
                <a:gd name="T35" fmla="*/ 172 h 275"/>
                <a:gd name="T36" fmla="*/ 16 w 184"/>
                <a:gd name="T37" fmla="*/ 172 h 275"/>
                <a:gd name="T38" fmla="*/ 37 w 184"/>
                <a:gd name="T39" fmla="*/ 224 h 275"/>
                <a:gd name="T40" fmla="*/ 63 w 184"/>
                <a:gd name="T41" fmla="*/ 248 h 275"/>
                <a:gd name="T42" fmla="*/ 97 w 184"/>
                <a:gd name="T43" fmla="*/ 257 h 275"/>
                <a:gd name="T44" fmla="*/ 132 w 184"/>
                <a:gd name="T45" fmla="*/ 242 h 275"/>
                <a:gd name="T46" fmla="*/ 144 w 184"/>
                <a:gd name="T47" fmla="*/ 210 h 275"/>
                <a:gd name="T48" fmla="*/ 120 w 184"/>
                <a:gd name="T49" fmla="*/ 170 h 275"/>
                <a:gd name="T50" fmla="*/ 70 w 184"/>
                <a:gd name="T51" fmla="*/ 149 h 275"/>
                <a:gd name="T52" fmla="*/ 28 w 184"/>
                <a:gd name="T53" fmla="*/ 128 h 275"/>
                <a:gd name="T54" fmla="*/ 3 w 184"/>
                <a:gd name="T55" fmla="*/ 72 h 275"/>
                <a:gd name="T56" fmla="*/ 26 w 184"/>
                <a:gd name="T57" fmla="*/ 19 h 275"/>
                <a:gd name="T58" fmla="*/ 80 w 184"/>
                <a:gd name="T59" fmla="*/ 0 h 275"/>
                <a:gd name="T60" fmla="*/ 134 w 184"/>
                <a:gd name="T61" fmla="*/ 16 h 275"/>
                <a:gd name="T62" fmla="*/ 143 w 184"/>
                <a:gd name="T63" fmla="*/ 19 h 275"/>
                <a:gd name="T64" fmla="*/ 151 w 184"/>
                <a:gd name="T65" fmla="*/ 6 h 275"/>
                <a:gd name="T66" fmla="*/ 168 w 184"/>
                <a:gd name="T67" fmla="*/ 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75">
                  <a:moveTo>
                    <a:pt x="168" y="6"/>
                  </a:moveTo>
                  <a:cubicBezTo>
                    <a:pt x="168" y="89"/>
                    <a:pt x="168" y="89"/>
                    <a:pt x="168" y="89"/>
                  </a:cubicBezTo>
                  <a:cubicBezTo>
                    <a:pt x="151" y="89"/>
                    <a:pt x="151" y="89"/>
                    <a:pt x="151" y="89"/>
                  </a:cubicBezTo>
                  <a:cubicBezTo>
                    <a:pt x="142" y="41"/>
                    <a:pt x="119" y="17"/>
                    <a:pt x="84" y="17"/>
                  </a:cubicBezTo>
                  <a:cubicBezTo>
                    <a:pt x="71" y="17"/>
                    <a:pt x="61" y="21"/>
                    <a:pt x="53" y="28"/>
                  </a:cubicBezTo>
                  <a:cubicBezTo>
                    <a:pt x="45" y="36"/>
                    <a:pt x="41" y="46"/>
                    <a:pt x="41" y="57"/>
                  </a:cubicBezTo>
                  <a:cubicBezTo>
                    <a:pt x="41" y="70"/>
                    <a:pt x="47" y="80"/>
                    <a:pt x="58" y="88"/>
                  </a:cubicBezTo>
                  <a:cubicBezTo>
                    <a:pt x="64" y="92"/>
                    <a:pt x="74" y="96"/>
                    <a:pt x="89" y="101"/>
                  </a:cubicBezTo>
                  <a:cubicBezTo>
                    <a:pt x="120" y="111"/>
                    <a:pt x="142" y="120"/>
                    <a:pt x="152" y="128"/>
                  </a:cubicBezTo>
                  <a:cubicBezTo>
                    <a:pt x="173" y="144"/>
                    <a:pt x="184" y="165"/>
                    <a:pt x="184" y="191"/>
                  </a:cubicBezTo>
                  <a:cubicBezTo>
                    <a:pt x="184" y="217"/>
                    <a:pt x="175" y="238"/>
                    <a:pt x="157" y="255"/>
                  </a:cubicBezTo>
                  <a:cubicBezTo>
                    <a:pt x="141" y="269"/>
                    <a:pt x="122" y="275"/>
                    <a:pt x="98" y="275"/>
                  </a:cubicBezTo>
                  <a:cubicBezTo>
                    <a:pt x="84" y="275"/>
                    <a:pt x="71" y="273"/>
                    <a:pt x="60" y="268"/>
                  </a:cubicBezTo>
                  <a:cubicBezTo>
                    <a:pt x="55" y="266"/>
                    <a:pt x="46" y="262"/>
                    <a:pt x="34" y="254"/>
                  </a:cubicBezTo>
                  <a:cubicBezTo>
                    <a:pt x="31" y="253"/>
                    <a:pt x="28" y="252"/>
                    <a:pt x="26" y="252"/>
                  </a:cubicBezTo>
                  <a:cubicBezTo>
                    <a:pt x="23" y="252"/>
                    <a:pt x="19" y="258"/>
                    <a:pt x="16" y="270"/>
                  </a:cubicBezTo>
                  <a:cubicBezTo>
                    <a:pt x="0" y="270"/>
                    <a:pt x="0" y="270"/>
                    <a:pt x="0" y="270"/>
                  </a:cubicBezTo>
                  <a:cubicBezTo>
                    <a:pt x="0" y="172"/>
                    <a:pt x="0" y="172"/>
                    <a:pt x="0" y="172"/>
                  </a:cubicBezTo>
                  <a:cubicBezTo>
                    <a:pt x="16" y="172"/>
                    <a:pt x="16" y="172"/>
                    <a:pt x="16" y="172"/>
                  </a:cubicBezTo>
                  <a:cubicBezTo>
                    <a:pt x="23" y="196"/>
                    <a:pt x="30" y="214"/>
                    <a:pt x="37" y="224"/>
                  </a:cubicBezTo>
                  <a:cubicBezTo>
                    <a:pt x="44" y="234"/>
                    <a:pt x="53" y="242"/>
                    <a:pt x="63" y="248"/>
                  </a:cubicBezTo>
                  <a:cubicBezTo>
                    <a:pt x="74" y="254"/>
                    <a:pt x="85" y="257"/>
                    <a:pt x="97" y="257"/>
                  </a:cubicBezTo>
                  <a:cubicBezTo>
                    <a:pt x="112" y="257"/>
                    <a:pt x="123" y="252"/>
                    <a:pt x="132" y="242"/>
                  </a:cubicBezTo>
                  <a:cubicBezTo>
                    <a:pt x="140" y="233"/>
                    <a:pt x="144" y="222"/>
                    <a:pt x="144" y="210"/>
                  </a:cubicBezTo>
                  <a:cubicBezTo>
                    <a:pt x="144" y="193"/>
                    <a:pt x="136" y="179"/>
                    <a:pt x="120" y="170"/>
                  </a:cubicBezTo>
                  <a:cubicBezTo>
                    <a:pt x="112" y="164"/>
                    <a:pt x="95" y="158"/>
                    <a:pt x="70" y="149"/>
                  </a:cubicBezTo>
                  <a:cubicBezTo>
                    <a:pt x="53" y="144"/>
                    <a:pt x="39" y="137"/>
                    <a:pt x="28" y="128"/>
                  </a:cubicBezTo>
                  <a:cubicBezTo>
                    <a:pt x="11" y="115"/>
                    <a:pt x="3" y="97"/>
                    <a:pt x="3" y="72"/>
                  </a:cubicBezTo>
                  <a:cubicBezTo>
                    <a:pt x="3" y="50"/>
                    <a:pt x="10" y="32"/>
                    <a:pt x="26" y="19"/>
                  </a:cubicBezTo>
                  <a:cubicBezTo>
                    <a:pt x="40" y="6"/>
                    <a:pt x="58" y="0"/>
                    <a:pt x="80" y="0"/>
                  </a:cubicBezTo>
                  <a:cubicBezTo>
                    <a:pt x="99" y="0"/>
                    <a:pt x="117" y="5"/>
                    <a:pt x="134" y="16"/>
                  </a:cubicBezTo>
                  <a:cubicBezTo>
                    <a:pt x="138" y="18"/>
                    <a:pt x="141" y="19"/>
                    <a:pt x="143" y="19"/>
                  </a:cubicBezTo>
                  <a:cubicBezTo>
                    <a:pt x="146" y="19"/>
                    <a:pt x="149" y="14"/>
                    <a:pt x="151" y="6"/>
                  </a:cubicBezTo>
                  <a:lnTo>
                    <a:pt x="16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3"/>
            <p:cNvSpPr>
              <a:spLocks/>
            </p:cNvSpPr>
            <p:nvPr userDrawn="1"/>
          </p:nvSpPr>
          <p:spPr bwMode="auto">
            <a:xfrm>
              <a:off x="2922588" y="5562600"/>
              <a:ext cx="288925" cy="606425"/>
            </a:xfrm>
            <a:custGeom>
              <a:avLst/>
              <a:gdLst>
                <a:gd name="T0" fmla="*/ 90 w 176"/>
                <a:gd name="T1" fmla="*/ 119 h 369"/>
                <a:gd name="T2" fmla="*/ 90 w 176"/>
                <a:gd name="T3" fmla="*/ 278 h 369"/>
                <a:gd name="T4" fmla="*/ 94 w 176"/>
                <a:gd name="T5" fmla="*/ 323 h 369"/>
                <a:gd name="T6" fmla="*/ 122 w 176"/>
                <a:gd name="T7" fmla="*/ 345 h 369"/>
                <a:gd name="T8" fmla="*/ 149 w 176"/>
                <a:gd name="T9" fmla="*/ 326 h 369"/>
                <a:gd name="T10" fmla="*/ 157 w 176"/>
                <a:gd name="T11" fmla="*/ 281 h 369"/>
                <a:gd name="T12" fmla="*/ 157 w 176"/>
                <a:gd name="T13" fmla="*/ 273 h 369"/>
                <a:gd name="T14" fmla="*/ 176 w 176"/>
                <a:gd name="T15" fmla="*/ 273 h 369"/>
                <a:gd name="T16" fmla="*/ 176 w 176"/>
                <a:gd name="T17" fmla="*/ 284 h 369"/>
                <a:gd name="T18" fmla="*/ 159 w 176"/>
                <a:gd name="T19" fmla="*/ 347 h 369"/>
                <a:gd name="T20" fmla="*/ 108 w 176"/>
                <a:gd name="T21" fmla="*/ 369 h 369"/>
                <a:gd name="T22" fmla="*/ 58 w 176"/>
                <a:gd name="T23" fmla="*/ 350 h 369"/>
                <a:gd name="T24" fmla="*/ 43 w 176"/>
                <a:gd name="T25" fmla="*/ 315 h 369"/>
                <a:gd name="T26" fmla="*/ 42 w 176"/>
                <a:gd name="T27" fmla="*/ 278 h 369"/>
                <a:gd name="T28" fmla="*/ 42 w 176"/>
                <a:gd name="T29" fmla="*/ 119 h 369"/>
                <a:gd name="T30" fmla="*/ 0 w 176"/>
                <a:gd name="T31" fmla="*/ 119 h 369"/>
                <a:gd name="T32" fmla="*/ 0 w 176"/>
                <a:gd name="T33" fmla="*/ 103 h 369"/>
                <a:gd name="T34" fmla="*/ 54 w 176"/>
                <a:gd name="T35" fmla="*/ 72 h 369"/>
                <a:gd name="T36" fmla="*/ 74 w 176"/>
                <a:gd name="T37" fmla="*/ 0 h 369"/>
                <a:gd name="T38" fmla="*/ 90 w 176"/>
                <a:gd name="T39" fmla="*/ 0 h 369"/>
                <a:gd name="T40" fmla="*/ 90 w 176"/>
                <a:gd name="T41" fmla="*/ 100 h 369"/>
                <a:gd name="T42" fmla="*/ 167 w 176"/>
                <a:gd name="T43" fmla="*/ 100 h 369"/>
                <a:gd name="T44" fmla="*/ 167 w 176"/>
                <a:gd name="T45" fmla="*/ 119 h 369"/>
                <a:gd name="T46" fmla="*/ 90 w 176"/>
                <a:gd name="T47" fmla="*/ 1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6" h="369">
                  <a:moveTo>
                    <a:pt x="90" y="119"/>
                  </a:moveTo>
                  <a:cubicBezTo>
                    <a:pt x="90" y="278"/>
                    <a:pt x="90" y="278"/>
                    <a:pt x="90" y="278"/>
                  </a:cubicBezTo>
                  <a:cubicBezTo>
                    <a:pt x="90" y="299"/>
                    <a:pt x="92" y="314"/>
                    <a:pt x="94" y="323"/>
                  </a:cubicBezTo>
                  <a:cubicBezTo>
                    <a:pt x="99" y="338"/>
                    <a:pt x="108" y="345"/>
                    <a:pt x="122" y="345"/>
                  </a:cubicBezTo>
                  <a:cubicBezTo>
                    <a:pt x="134" y="345"/>
                    <a:pt x="143" y="339"/>
                    <a:pt x="149" y="326"/>
                  </a:cubicBezTo>
                  <a:cubicBezTo>
                    <a:pt x="154" y="314"/>
                    <a:pt x="157" y="299"/>
                    <a:pt x="157" y="281"/>
                  </a:cubicBezTo>
                  <a:cubicBezTo>
                    <a:pt x="157" y="273"/>
                    <a:pt x="157" y="273"/>
                    <a:pt x="157" y="273"/>
                  </a:cubicBezTo>
                  <a:cubicBezTo>
                    <a:pt x="176" y="273"/>
                    <a:pt x="176" y="273"/>
                    <a:pt x="176" y="273"/>
                  </a:cubicBezTo>
                  <a:cubicBezTo>
                    <a:pt x="176" y="284"/>
                    <a:pt x="176" y="284"/>
                    <a:pt x="176" y="284"/>
                  </a:cubicBezTo>
                  <a:cubicBezTo>
                    <a:pt x="176" y="310"/>
                    <a:pt x="170" y="331"/>
                    <a:pt x="159" y="347"/>
                  </a:cubicBezTo>
                  <a:cubicBezTo>
                    <a:pt x="148" y="362"/>
                    <a:pt x="131" y="369"/>
                    <a:pt x="108" y="369"/>
                  </a:cubicBezTo>
                  <a:cubicBezTo>
                    <a:pt x="85" y="369"/>
                    <a:pt x="69" y="363"/>
                    <a:pt x="58" y="350"/>
                  </a:cubicBezTo>
                  <a:cubicBezTo>
                    <a:pt x="50" y="340"/>
                    <a:pt x="45" y="329"/>
                    <a:pt x="43" y="315"/>
                  </a:cubicBezTo>
                  <a:cubicBezTo>
                    <a:pt x="42" y="305"/>
                    <a:pt x="42" y="293"/>
                    <a:pt x="42" y="278"/>
                  </a:cubicBezTo>
                  <a:cubicBezTo>
                    <a:pt x="42" y="119"/>
                    <a:pt x="42" y="119"/>
                    <a:pt x="42" y="119"/>
                  </a:cubicBezTo>
                  <a:cubicBezTo>
                    <a:pt x="0" y="119"/>
                    <a:pt x="0" y="119"/>
                    <a:pt x="0" y="119"/>
                  </a:cubicBezTo>
                  <a:cubicBezTo>
                    <a:pt x="0" y="103"/>
                    <a:pt x="0" y="103"/>
                    <a:pt x="0" y="103"/>
                  </a:cubicBezTo>
                  <a:cubicBezTo>
                    <a:pt x="27" y="97"/>
                    <a:pt x="45" y="86"/>
                    <a:pt x="54" y="72"/>
                  </a:cubicBezTo>
                  <a:cubicBezTo>
                    <a:pt x="64" y="57"/>
                    <a:pt x="71" y="33"/>
                    <a:pt x="74" y="0"/>
                  </a:cubicBezTo>
                  <a:cubicBezTo>
                    <a:pt x="90" y="0"/>
                    <a:pt x="90" y="0"/>
                    <a:pt x="90" y="0"/>
                  </a:cubicBezTo>
                  <a:cubicBezTo>
                    <a:pt x="90" y="100"/>
                    <a:pt x="90" y="100"/>
                    <a:pt x="90" y="100"/>
                  </a:cubicBezTo>
                  <a:cubicBezTo>
                    <a:pt x="167" y="100"/>
                    <a:pt x="167" y="100"/>
                    <a:pt x="167" y="100"/>
                  </a:cubicBezTo>
                  <a:cubicBezTo>
                    <a:pt x="167" y="119"/>
                    <a:pt x="167" y="119"/>
                    <a:pt x="167" y="119"/>
                  </a:cubicBezTo>
                  <a:lnTo>
                    <a:pt x="90"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4"/>
            <p:cNvSpPr>
              <a:spLocks noEditPoints="1"/>
            </p:cNvSpPr>
            <p:nvPr userDrawn="1"/>
          </p:nvSpPr>
          <p:spPr bwMode="auto">
            <a:xfrm>
              <a:off x="3238500" y="5713413"/>
              <a:ext cx="344488" cy="460375"/>
            </a:xfrm>
            <a:custGeom>
              <a:avLst/>
              <a:gdLst>
                <a:gd name="T0" fmla="*/ 210 w 210"/>
                <a:gd name="T1" fmla="*/ 138 h 280"/>
                <a:gd name="T2" fmla="*/ 53 w 210"/>
                <a:gd name="T3" fmla="*/ 138 h 280"/>
                <a:gd name="T4" fmla="*/ 65 w 210"/>
                <a:gd name="T5" fmla="*/ 220 h 280"/>
                <a:gd name="T6" fmla="*/ 119 w 210"/>
                <a:gd name="T7" fmla="*/ 257 h 280"/>
                <a:gd name="T8" fmla="*/ 168 w 210"/>
                <a:gd name="T9" fmla="*/ 234 h 280"/>
                <a:gd name="T10" fmla="*/ 190 w 210"/>
                <a:gd name="T11" fmla="*/ 198 h 280"/>
                <a:gd name="T12" fmla="*/ 207 w 210"/>
                <a:gd name="T13" fmla="*/ 207 h 280"/>
                <a:gd name="T14" fmla="*/ 110 w 210"/>
                <a:gd name="T15" fmla="*/ 280 h 280"/>
                <a:gd name="T16" fmla="*/ 36 w 210"/>
                <a:gd name="T17" fmla="*/ 249 h 280"/>
                <a:gd name="T18" fmla="*/ 0 w 210"/>
                <a:gd name="T19" fmla="*/ 138 h 280"/>
                <a:gd name="T20" fmla="*/ 36 w 210"/>
                <a:gd name="T21" fmla="*/ 31 h 280"/>
                <a:gd name="T22" fmla="*/ 104 w 210"/>
                <a:gd name="T23" fmla="*/ 0 h 280"/>
                <a:gd name="T24" fmla="*/ 193 w 210"/>
                <a:gd name="T25" fmla="*/ 59 h 280"/>
                <a:gd name="T26" fmla="*/ 210 w 210"/>
                <a:gd name="T27" fmla="*/ 138 h 280"/>
                <a:gd name="T28" fmla="*/ 157 w 210"/>
                <a:gd name="T29" fmla="*/ 118 h 280"/>
                <a:gd name="T30" fmla="*/ 150 w 210"/>
                <a:gd name="T31" fmla="*/ 60 h 280"/>
                <a:gd name="T32" fmla="*/ 107 w 210"/>
                <a:gd name="T33" fmla="*/ 20 h 280"/>
                <a:gd name="T34" fmla="*/ 60 w 210"/>
                <a:gd name="T35" fmla="*/ 69 h 280"/>
                <a:gd name="T36" fmla="*/ 54 w 210"/>
                <a:gd name="T37" fmla="*/ 118 h 280"/>
                <a:gd name="T38" fmla="*/ 157 w 210"/>
                <a:gd name="T39"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80">
                  <a:moveTo>
                    <a:pt x="210" y="138"/>
                  </a:moveTo>
                  <a:cubicBezTo>
                    <a:pt x="53" y="138"/>
                    <a:pt x="53" y="138"/>
                    <a:pt x="53" y="138"/>
                  </a:cubicBezTo>
                  <a:cubicBezTo>
                    <a:pt x="54" y="175"/>
                    <a:pt x="58" y="202"/>
                    <a:pt x="65" y="220"/>
                  </a:cubicBezTo>
                  <a:cubicBezTo>
                    <a:pt x="75" y="245"/>
                    <a:pt x="93" y="257"/>
                    <a:pt x="119" y="257"/>
                  </a:cubicBezTo>
                  <a:cubicBezTo>
                    <a:pt x="139" y="257"/>
                    <a:pt x="155" y="249"/>
                    <a:pt x="168" y="234"/>
                  </a:cubicBezTo>
                  <a:cubicBezTo>
                    <a:pt x="176" y="225"/>
                    <a:pt x="183" y="213"/>
                    <a:pt x="190" y="198"/>
                  </a:cubicBezTo>
                  <a:cubicBezTo>
                    <a:pt x="207" y="207"/>
                    <a:pt x="207" y="207"/>
                    <a:pt x="207" y="207"/>
                  </a:cubicBezTo>
                  <a:cubicBezTo>
                    <a:pt x="183" y="256"/>
                    <a:pt x="151" y="280"/>
                    <a:pt x="110" y="280"/>
                  </a:cubicBezTo>
                  <a:cubicBezTo>
                    <a:pt x="80" y="280"/>
                    <a:pt x="55" y="269"/>
                    <a:pt x="36" y="249"/>
                  </a:cubicBezTo>
                  <a:cubicBezTo>
                    <a:pt x="12" y="223"/>
                    <a:pt x="0" y="186"/>
                    <a:pt x="0" y="138"/>
                  </a:cubicBezTo>
                  <a:cubicBezTo>
                    <a:pt x="0" y="94"/>
                    <a:pt x="12" y="58"/>
                    <a:pt x="36" y="31"/>
                  </a:cubicBezTo>
                  <a:cubicBezTo>
                    <a:pt x="55" y="10"/>
                    <a:pt x="77" y="0"/>
                    <a:pt x="104" y="0"/>
                  </a:cubicBezTo>
                  <a:cubicBezTo>
                    <a:pt x="143" y="0"/>
                    <a:pt x="173" y="19"/>
                    <a:pt x="193" y="59"/>
                  </a:cubicBezTo>
                  <a:cubicBezTo>
                    <a:pt x="203" y="80"/>
                    <a:pt x="209" y="106"/>
                    <a:pt x="210" y="138"/>
                  </a:cubicBezTo>
                  <a:close/>
                  <a:moveTo>
                    <a:pt x="157" y="118"/>
                  </a:moveTo>
                  <a:cubicBezTo>
                    <a:pt x="157" y="94"/>
                    <a:pt x="155" y="75"/>
                    <a:pt x="150" y="60"/>
                  </a:cubicBezTo>
                  <a:cubicBezTo>
                    <a:pt x="141" y="33"/>
                    <a:pt x="126" y="20"/>
                    <a:pt x="107" y="20"/>
                  </a:cubicBezTo>
                  <a:cubicBezTo>
                    <a:pt x="85" y="20"/>
                    <a:pt x="69" y="36"/>
                    <a:pt x="60" y="69"/>
                  </a:cubicBezTo>
                  <a:cubicBezTo>
                    <a:pt x="56" y="82"/>
                    <a:pt x="54" y="99"/>
                    <a:pt x="54" y="118"/>
                  </a:cubicBezTo>
                  <a:lnTo>
                    <a:pt x="157"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5"/>
            <p:cNvSpPr>
              <a:spLocks/>
            </p:cNvSpPr>
            <p:nvPr userDrawn="1"/>
          </p:nvSpPr>
          <p:spPr bwMode="auto">
            <a:xfrm>
              <a:off x="3616325" y="5716588"/>
              <a:ext cx="649288" cy="442913"/>
            </a:xfrm>
            <a:custGeom>
              <a:avLst/>
              <a:gdLst>
                <a:gd name="T0" fmla="*/ 312 w 396"/>
                <a:gd name="T1" fmla="*/ 270 h 270"/>
                <a:gd name="T2" fmla="*/ 312 w 396"/>
                <a:gd name="T3" fmla="*/ 108 h 270"/>
                <a:gd name="T4" fmla="*/ 305 w 396"/>
                <a:gd name="T5" fmla="*/ 44 h 270"/>
                <a:gd name="T6" fmla="*/ 275 w 396"/>
                <a:gd name="T7" fmla="*/ 25 h 270"/>
                <a:gd name="T8" fmla="*/ 236 w 396"/>
                <a:gd name="T9" fmla="*/ 52 h 270"/>
                <a:gd name="T10" fmla="*/ 225 w 396"/>
                <a:gd name="T11" fmla="*/ 84 h 270"/>
                <a:gd name="T12" fmla="*/ 223 w 396"/>
                <a:gd name="T13" fmla="*/ 134 h 270"/>
                <a:gd name="T14" fmla="*/ 223 w 396"/>
                <a:gd name="T15" fmla="*/ 205 h 270"/>
                <a:gd name="T16" fmla="*/ 230 w 396"/>
                <a:gd name="T17" fmla="*/ 245 h 270"/>
                <a:gd name="T18" fmla="*/ 252 w 396"/>
                <a:gd name="T19" fmla="*/ 252 h 270"/>
                <a:gd name="T20" fmla="*/ 261 w 396"/>
                <a:gd name="T21" fmla="*/ 252 h 270"/>
                <a:gd name="T22" fmla="*/ 261 w 396"/>
                <a:gd name="T23" fmla="*/ 270 h 270"/>
                <a:gd name="T24" fmla="*/ 175 w 396"/>
                <a:gd name="T25" fmla="*/ 270 h 270"/>
                <a:gd name="T26" fmla="*/ 175 w 396"/>
                <a:gd name="T27" fmla="*/ 117 h 270"/>
                <a:gd name="T28" fmla="*/ 173 w 396"/>
                <a:gd name="T29" fmla="*/ 66 h 270"/>
                <a:gd name="T30" fmla="*/ 137 w 396"/>
                <a:gd name="T31" fmla="*/ 25 h 270"/>
                <a:gd name="T32" fmla="*/ 99 w 396"/>
                <a:gd name="T33" fmla="*/ 53 h 270"/>
                <a:gd name="T34" fmla="*/ 89 w 396"/>
                <a:gd name="T35" fmla="*/ 81 h 270"/>
                <a:gd name="T36" fmla="*/ 86 w 396"/>
                <a:gd name="T37" fmla="*/ 134 h 270"/>
                <a:gd name="T38" fmla="*/ 86 w 396"/>
                <a:gd name="T39" fmla="*/ 205 h 270"/>
                <a:gd name="T40" fmla="*/ 93 w 396"/>
                <a:gd name="T41" fmla="*/ 245 h 270"/>
                <a:gd name="T42" fmla="*/ 116 w 396"/>
                <a:gd name="T43" fmla="*/ 252 h 270"/>
                <a:gd name="T44" fmla="*/ 124 w 396"/>
                <a:gd name="T45" fmla="*/ 252 h 270"/>
                <a:gd name="T46" fmla="*/ 124 w 396"/>
                <a:gd name="T47" fmla="*/ 270 h 270"/>
                <a:gd name="T48" fmla="*/ 0 w 396"/>
                <a:gd name="T49" fmla="*/ 270 h 270"/>
                <a:gd name="T50" fmla="*/ 0 w 396"/>
                <a:gd name="T51" fmla="*/ 252 h 270"/>
                <a:gd name="T52" fmla="*/ 9 w 396"/>
                <a:gd name="T53" fmla="*/ 252 h 270"/>
                <a:gd name="T54" fmla="*/ 31 w 396"/>
                <a:gd name="T55" fmla="*/ 245 h 270"/>
                <a:gd name="T56" fmla="*/ 38 w 396"/>
                <a:gd name="T57" fmla="*/ 205 h 270"/>
                <a:gd name="T58" fmla="*/ 38 w 396"/>
                <a:gd name="T59" fmla="*/ 69 h 270"/>
                <a:gd name="T60" fmla="*/ 31 w 396"/>
                <a:gd name="T61" fmla="*/ 30 h 270"/>
                <a:gd name="T62" fmla="*/ 9 w 396"/>
                <a:gd name="T63" fmla="*/ 24 h 270"/>
                <a:gd name="T64" fmla="*/ 2 w 396"/>
                <a:gd name="T65" fmla="*/ 24 h 270"/>
                <a:gd name="T66" fmla="*/ 2 w 396"/>
                <a:gd name="T67" fmla="*/ 6 h 270"/>
                <a:gd name="T68" fmla="*/ 83 w 396"/>
                <a:gd name="T69" fmla="*/ 2 h 270"/>
                <a:gd name="T70" fmla="*/ 83 w 396"/>
                <a:gd name="T71" fmla="*/ 49 h 270"/>
                <a:gd name="T72" fmla="*/ 99 w 396"/>
                <a:gd name="T73" fmla="*/ 23 h 270"/>
                <a:gd name="T74" fmla="*/ 150 w 396"/>
                <a:gd name="T75" fmla="*/ 0 h 270"/>
                <a:gd name="T76" fmla="*/ 217 w 396"/>
                <a:gd name="T77" fmla="*/ 52 h 270"/>
                <a:gd name="T78" fmla="*/ 288 w 396"/>
                <a:gd name="T79" fmla="*/ 0 h 270"/>
                <a:gd name="T80" fmla="*/ 346 w 396"/>
                <a:gd name="T81" fmla="*/ 30 h 270"/>
                <a:gd name="T82" fmla="*/ 358 w 396"/>
                <a:gd name="T83" fmla="*/ 66 h 270"/>
                <a:gd name="T84" fmla="*/ 360 w 396"/>
                <a:gd name="T85" fmla="*/ 102 h 270"/>
                <a:gd name="T86" fmla="*/ 360 w 396"/>
                <a:gd name="T87" fmla="*/ 205 h 270"/>
                <a:gd name="T88" fmla="*/ 367 w 396"/>
                <a:gd name="T89" fmla="*/ 245 h 270"/>
                <a:gd name="T90" fmla="*/ 389 w 396"/>
                <a:gd name="T91" fmla="*/ 252 h 270"/>
                <a:gd name="T92" fmla="*/ 396 w 396"/>
                <a:gd name="T93" fmla="*/ 252 h 270"/>
                <a:gd name="T94" fmla="*/ 396 w 396"/>
                <a:gd name="T95" fmla="*/ 270 h 270"/>
                <a:gd name="T96" fmla="*/ 312 w 396"/>
                <a:gd name="T97"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6" h="270">
                  <a:moveTo>
                    <a:pt x="312" y="270"/>
                  </a:moveTo>
                  <a:cubicBezTo>
                    <a:pt x="312" y="108"/>
                    <a:pt x="312" y="108"/>
                    <a:pt x="312" y="108"/>
                  </a:cubicBezTo>
                  <a:cubicBezTo>
                    <a:pt x="312" y="75"/>
                    <a:pt x="309" y="54"/>
                    <a:pt x="305" y="44"/>
                  </a:cubicBezTo>
                  <a:cubicBezTo>
                    <a:pt x="298" y="31"/>
                    <a:pt x="288" y="25"/>
                    <a:pt x="275" y="25"/>
                  </a:cubicBezTo>
                  <a:cubicBezTo>
                    <a:pt x="259" y="25"/>
                    <a:pt x="246" y="34"/>
                    <a:pt x="236" y="52"/>
                  </a:cubicBezTo>
                  <a:cubicBezTo>
                    <a:pt x="231" y="62"/>
                    <a:pt x="227" y="73"/>
                    <a:pt x="225" y="84"/>
                  </a:cubicBezTo>
                  <a:cubicBezTo>
                    <a:pt x="224" y="93"/>
                    <a:pt x="223" y="109"/>
                    <a:pt x="223" y="134"/>
                  </a:cubicBezTo>
                  <a:cubicBezTo>
                    <a:pt x="223" y="205"/>
                    <a:pt x="223" y="205"/>
                    <a:pt x="223" y="205"/>
                  </a:cubicBezTo>
                  <a:cubicBezTo>
                    <a:pt x="223" y="226"/>
                    <a:pt x="226" y="240"/>
                    <a:pt x="230" y="245"/>
                  </a:cubicBezTo>
                  <a:cubicBezTo>
                    <a:pt x="234" y="250"/>
                    <a:pt x="242" y="252"/>
                    <a:pt x="252" y="252"/>
                  </a:cubicBezTo>
                  <a:cubicBezTo>
                    <a:pt x="261" y="252"/>
                    <a:pt x="261" y="252"/>
                    <a:pt x="261" y="252"/>
                  </a:cubicBezTo>
                  <a:cubicBezTo>
                    <a:pt x="261" y="270"/>
                    <a:pt x="261" y="270"/>
                    <a:pt x="261" y="270"/>
                  </a:cubicBezTo>
                  <a:cubicBezTo>
                    <a:pt x="175" y="270"/>
                    <a:pt x="175" y="270"/>
                    <a:pt x="175" y="270"/>
                  </a:cubicBezTo>
                  <a:cubicBezTo>
                    <a:pt x="175" y="117"/>
                    <a:pt x="175" y="117"/>
                    <a:pt x="175" y="117"/>
                  </a:cubicBezTo>
                  <a:cubicBezTo>
                    <a:pt x="175" y="91"/>
                    <a:pt x="174" y="74"/>
                    <a:pt x="173" y="66"/>
                  </a:cubicBezTo>
                  <a:cubicBezTo>
                    <a:pt x="169" y="39"/>
                    <a:pt x="157" y="25"/>
                    <a:pt x="137" y="25"/>
                  </a:cubicBezTo>
                  <a:cubicBezTo>
                    <a:pt x="121" y="25"/>
                    <a:pt x="108" y="34"/>
                    <a:pt x="99" y="53"/>
                  </a:cubicBezTo>
                  <a:cubicBezTo>
                    <a:pt x="94" y="62"/>
                    <a:pt x="91" y="71"/>
                    <a:pt x="89" y="81"/>
                  </a:cubicBezTo>
                  <a:cubicBezTo>
                    <a:pt x="87" y="91"/>
                    <a:pt x="86" y="108"/>
                    <a:pt x="86" y="134"/>
                  </a:cubicBezTo>
                  <a:cubicBezTo>
                    <a:pt x="86" y="205"/>
                    <a:pt x="86" y="205"/>
                    <a:pt x="86" y="205"/>
                  </a:cubicBezTo>
                  <a:cubicBezTo>
                    <a:pt x="86" y="227"/>
                    <a:pt x="89" y="240"/>
                    <a:pt x="93" y="245"/>
                  </a:cubicBezTo>
                  <a:cubicBezTo>
                    <a:pt x="97" y="250"/>
                    <a:pt x="105" y="252"/>
                    <a:pt x="116" y="252"/>
                  </a:cubicBezTo>
                  <a:cubicBezTo>
                    <a:pt x="124" y="252"/>
                    <a:pt x="124" y="252"/>
                    <a:pt x="124" y="252"/>
                  </a:cubicBezTo>
                  <a:cubicBezTo>
                    <a:pt x="124" y="270"/>
                    <a:pt x="124" y="270"/>
                    <a:pt x="124" y="270"/>
                  </a:cubicBezTo>
                  <a:cubicBezTo>
                    <a:pt x="0" y="270"/>
                    <a:pt x="0" y="270"/>
                    <a:pt x="0" y="270"/>
                  </a:cubicBezTo>
                  <a:cubicBezTo>
                    <a:pt x="0" y="252"/>
                    <a:pt x="0" y="252"/>
                    <a:pt x="0" y="252"/>
                  </a:cubicBezTo>
                  <a:cubicBezTo>
                    <a:pt x="9" y="252"/>
                    <a:pt x="9" y="252"/>
                    <a:pt x="9" y="252"/>
                  </a:cubicBezTo>
                  <a:cubicBezTo>
                    <a:pt x="19" y="252"/>
                    <a:pt x="27" y="250"/>
                    <a:pt x="31" y="245"/>
                  </a:cubicBezTo>
                  <a:cubicBezTo>
                    <a:pt x="36" y="240"/>
                    <a:pt x="38" y="226"/>
                    <a:pt x="38" y="205"/>
                  </a:cubicBezTo>
                  <a:cubicBezTo>
                    <a:pt x="38" y="69"/>
                    <a:pt x="38" y="69"/>
                    <a:pt x="38" y="69"/>
                  </a:cubicBezTo>
                  <a:cubicBezTo>
                    <a:pt x="38" y="49"/>
                    <a:pt x="36" y="36"/>
                    <a:pt x="31" y="30"/>
                  </a:cubicBezTo>
                  <a:cubicBezTo>
                    <a:pt x="27" y="26"/>
                    <a:pt x="19" y="24"/>
                    <a:pt x="9" y="24"/>
                  </a:cubicBezTo>
                  <a:cubicBezTo>
                    <a:pt x="2" y="24"/>
                    <a:pt x="2" y="24"/>
                    <a:pt x="2" y="24"/>
                  </a:cubicBezTo>
                  <a:cubicBezTo>
                    <a:pt x="2" y="6"/>
                    <a:pt x="2" y="6"/>
                    <a:pt x="2" y="6"/>
                  </a:cubicBezTo>
                  <a:cubicBezTo>
                    <a:pt x="83" y="2"/>
                    <a:pt x="83" y="2"/>
                    <a:pt x="83" y="2"/>
                  </a:cubicBezTo>
                  <a:cubicBezTo>
                    <a:pt x="83" y="49"/>
                    <a:pt x="83" y="49"/>
                    <a:pt x="83" y="49"/>
                  </a:cubicBezTo>
                  <a:cubicBezTo>
                    <a:pt x="87" y="39"/>
                    <a:pt x="92" y="31"/>
                    <a:pt x="99" y="23"/>
                  </a:cubicBezTo>
                  <a:cubicBezTo>
                    <a:pt x="113" y="8"/>
                    <a:pt x="130" y="0"/>
                    <a:pt x="150" y="0"/>
                  </a:cubicBezTo>
                  <a:cubicBezTo>
                    <a:pt x="181" y="0"/>
                    <a:pt x="203" y="18"/>
                    <a:pt x="217" y="52"/>
                  </a:cubicBezTo>
                  <a:cubicBezTo>
                    <a:pt x="234" y="18"/>
                    <a:pt x="257" y="0"/>
                    <a:pt x="288" y="0"/>
                  </a:cubicBezTo>
                  <a:cubicBezTo>
                    <a:pt x="314" y="0"/>
                    <a:pt x="333" y="10"/>
                    <a:pt x="346" y="30"/>
                  </a:cubicBezTo>
                  <a:cubicBezTo>
                    <a:pt x="353" y="41"/>
                    <a:pt x="357" y="53"/>
                    <a:pt x="358" y="66"/>
                  </a:cubicBezTo>
                  <a:cubicBezTo>
                    <a:pt x="359" y="77"/>
                    <a:pt x="360" y="89"/>
                    <a:pt x="360" y="102"/>
                  </a:cubicBezTo>
                  <a:cubicBezTo>
                    <a:pt x="360" y="205"/>
                    <a:pt x="360" y="205"/>
                    <a:pt x="360" y="205"/>
                  </a:cubicBezTo>
                  <a:cubicBezTo>
                    <a:pt x="360" y="226"/>
                    <a:pt x="362" y="240"/>
                    <a:pt x="367" y="245"/>
                  </a:cubicBezTo>
                  <a:cubicBezTo>
                    <a:pt x="371" y="250"/>
                    <a:pt x="378" y="252"/>
                    <a:pt x="389" y="252"/>
                  </a:cubicBezTo>
                  <a:cubicBezTo>
                    <a:pt x="396" y="252"/>
                    <a:pt x="396" y="252"/>
                    <a:pt x="396" y="252"/>
                  </a:cubicBezTo>
                  <a:cubicBezTo>
                    <a:pt x="396" y="270"/>
                    <a:pt x="396" y="270"/>
                    <a:pt x="396" y="270"/>
                  </a:cubicBezTo>
                  <a:lnTo>
                    <a:pt x="312" y="2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6"/>
            <p:cNvSpPr>
              <a:spLocks/>
            </p:cNvSpPr>
            <p:nvPr userDrawn="1"/>
          </p:nvSpPr>
          <p:spPr bwMode="auto">
            <a:xfrm>
              <a:off x="4308475" y="5716588"/>
              <a:ext cx="301625" cy="452438"/>
            </a:xfrm>
            <a:custGeom>
              <a:avLst/>
              <a:gdLst>
                <a:gd name="T0" fmla="*/ 168 w 184"/>
                <a:gd name="T1" fmla="*/ 6 h 275"/>
                <a:gd name="T2" fmla="*/ 168 w 184"/>
                <a:gd name="T3" fmla="*/ 89 h 275"/>
                <a:gd name="T4" fmla="*/ 151 w 184"/>
                <a:gd name="T5" fmla="*/ 89 h 275"/>
                <a:gd name="T6" fmla="*/ 84 w 184"/>
                <a:gd name="T7" fmla="*/ 17 h 275"/>
                <a:gd name="T8" fmla="*/ 53 w 184"/>
                <a:gd name="T9" fmla="*/ 28 h 275"/>
                <a:gd name="T10" fmla="*/ 41 w 184"/>
                <a:gd name="T11" fmla="*/ 57 h 275"/>
                <a:gd name="T12" fmla="*/ 58 w 184"/>
                <a:gd name="T13" fmla="*/ 88 h 275"/>
                <a:gd name="T14" fmla="*/ 88 w 184"/>
                <a:gd name="T15" fmla="*/ 101 h 275"/>
                <a:gd name="T16" fmla="*/ 152 w 184"/>
                <a:gd name="T17" fmla="*/ 128 h 275"/>
                <a:gd name="T18" fmla="*/ 184 w 184"/>
                <a:gd name="T19" fmla="*/ 191 h 275"/>
                <a:gd name="T20" fmla="*/ 156 w 184"/>
                <a:gd name="T21" fmla="*/ 255 h 275"/>
                <a:gd name="T22" fmla="*/ 98 w 184"/>
                <a:gd name="T23" fmla="*/ 275 h 275"/>
                <a:gd name="T24" fmla="*/ 59 w 184"/>
                <a:gd name="T25" fmla="*/ 268 h 275"/>
                <a:gd name="T26" fmla="*/ 33 w 184"/>
                <a:gd name="T27" fmla="*/ 254 h 275"/>
                <a:gd name="T28" fmla="*/ 26 w 184"/>
                <a:gd name="T29" fmla="*/ 252 h 275"/>
                <a:gd name="T30" fmla="*/ 16 w 184"/>
                <a:gd name="T31" fmla="*/ 270 h 275"/>
                <a:gd name="T32" fmla="*/ 0 w 184"/>
                <a:gd name="T33" fmla="*/ 270 h 275"/>
                <a:gd name="T34" fmla="*/ 0 w 184"/>
                <a:gd name="T35" fmla="*/ 172 h 275"/>
                <a:gd name="T36" fmla="*/ 16 w 184"/>
                <a:gd name="T37" fmla="*/ 172 h 275"/>
                <a:gd name="T38" fmla="*/ 37 w 184"/>
                <a:gd name="T39" fmla="*/ 224 h 275"/>
                <a:gd name="T40" fmla="*/ 63 w 184"/>
                <a:gd name="T41" fmla="*/ 248 h 275"/>
                <a:gd name="T42" fmla="*/ 97 w 184"/>
                <a:gd name="T43" fmla="*/ 257 h 275"/>
                <a:gd name="T44" fmla="*/ 131 w 184"/>
                <a:gd name="T45" fmla="*/ 242 h 275"/>
                <a:gd name="T46" fmla="*/ 144 w 184"/>
                <a:gd name="T47" fmla="*/ 210 h 275"/>
                <a:gd name="T48" fmla="*/ 120 w 184"/>
                <a:gd name="T49" fmla="*/ 170 h 275"/>
                <a:gd name="T50" fmla="*/ 69 w 184"/>
                <a:gd name="T51" fmla="*/ 149 h 275"/>
                <a:gd name="T52" fmla="*/ 28 w 184"/>
                <a:gd name="T53" fmla="*/ 128 h 275"/>
                <a:gd name="T54" fmla="*/ 2 w 184"/>
                <a:gd name="T55" fmla="*/ 72 h 275"/>
                <a:gd name="T56" fmla="*/ 26 w 184"/>
                <a:gd name="T57" fmla="*/ 19 h 275"/>
                <a:gd name="T58" fmla="*/ 80 w 184"/>
                <a:gd name="T59" fmla="*/ 0 h 275"/>
                <a:gd name="T60" fmla="*/ 134 w 184"/>
                <a:gd name="T61" fmla="*/ 16 h 275"/>
                <a:gd name="T62" fmla="*/ 142 w 184"/>
                <a:gd name="T63" fmla="*/ 19 h 275"/>
                <a:gd name="T64" fmla="*/ 151 w 184"/>
                <a:gd name="T65" fmla="*/ 6 h 275"/>
                <a:gd name="T66" fmla="*/ 168 w 184"/>
                <a:gd name="T67" fmla="*/ 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75">
                  <a:moveTo>
                    <a:pt x="168" y="6"/>
                  </a:moveTo>
                  <a:cubicBezTo>
                    <a:pt x="168" y="89"/>
                    <a:pt x="168" y="89"/>
                    <a:pt x="168" y="89"/>
                  </a:cubicBezTo>
                  <a:cubicBezTo>
                    <a:pt x="151" y="89"/>
                    <a:pt x="151" y="89"/>
                    <a:pt x="151" y="89"/>
                  </a:cubicBezTo>
                  <a:cubicBezTo>
                    <a:pt x="141" y="41"/>
                    <a:pt x="119" y="17"/>
                    <a:pt x="84" y="17"/>
                  </a:cubicBezTo>
                  <a:cubicBezTo>
                    <a:pt x="71" y="17"/>
                    <a:pt x="61" y="21"/>
                    <a:pt x="53" y="28"/>
                  </a:cubicBezTo>
                  <a:cubicBezTo>
                    <a:pt x="45" y="36"/>
                    <a:pt x="41" y="46"/>
                    <a:pt x="41" y="57"/>
                  </a:cubicBezTo>
                  <a:cubicBezTo>
                    <a:pt x="41" y="70"/>
                    <a:pt x="46" y="80"/>
                    <a:pt x="58" y="88"/>
                  </a:cubicBezTo>
                  <a:cubicBezTo>
                    <a:pt x="63" y="92"/>
                    <a:pt x="74" y="96"/>
                    <a:pt x="88" y="101"/>
                  </a:cubicBezTo>
                  <a:cubicBezTo>
                    <a:pt x="120" y="111"/>
                    <a:pt x="142" y="120"/>
                    <a:pt x="152" y="128"/>
                  </a:cubicBezTo>
                  <a:cubicBezTo>
                    <a:pt x="173" y="144"/>
                    <a:pt x="184" y="165"/>
                    <a:pt x="184" y="191"/>
                  </a:cubicBezTo>
                  <a:cubicBezTo>
                    <a:pt x="184" y="217"/>
                    <a:pt x="175" y="238"/>
                    <a:pt x="156" y="255"/>
                  </a:cubicBezTo>
                  <a:cubicBezTo>
                    <a:pt x="141" y="269"/>
                    <a:pt x="121" y="275"/>
                    <a:pt x="98" y="275"/>
                  </a:cubicBezTo>
                  <a:cubicBezTo>
                    <a:pt x="84" y="275"/>
                    <a:pt x="71" y="273"/>
                    <a:pt x="59" y="268"/>
                  </a:cubicBezTo>
                  <a:cubicBezTo>
                    <a:pt x="55" y="266"/>
                    <a:pt x="46" y="262"/>
                    <a:pt x="33" y="254"/>
                  </a:cubicBezTo>
                  <a:cubicBezTo>
                    <a:pt x="31" y="253"/>
                    <a:pt x="28" y="252"/>
                    <a:pt x="26" y="252"/>
                  </a:cubicBezTo>
                  <a:cubicBezTo>
                    <a:pt x="23" y="252"/>
                    <a:pt x="19" y="258"/>
                    <a:pt x="16" y="270"/>
                  </a:cubicBezTo>
                  <a:cubicBezTo>
                    <a:pt x="0" y="270"/>
                    <a:pt x="0" y="270"/>
                    <a:pt x="0" y="270"/>
                  </a:cubicBezTo>
                  <a:cubicBezTo>
                    <a:pt x="0" y="172"/>
                    <a:pt x="0" y="172"/>
                    <a:pt x="0" y="172"/>
                  </a:cubicBezTo>
                  <a:cubicBezTo>
                    <a:pt x="16" y="172"/>
                    <a:pt x="16" y="172"/>
                    <a:pt x="16" y="172"/>
                  </a:cubicBezTo>
                  <a:cubicBezTo>
                    <a:pt x="22" y="196"/>
                    <a:pt x="29" y="214"/>
                    <a:pt x="37" y="224"/>
                  </a:cubicBezTo>
                  <a:cubicBezTo>
                    <a:pt x="44" y="234"/>
                    <a:pt x="52" y="242"/>
                    <a:pt x="63" y="248"/>
                  </a:cubicBezTo>
                  <a:cubicBezTo>
                    <a:pt x="74" y="254"/>
                    <a:pt x="85" y="257"/>
                    <a:pt x="97" y="257"/>
                  </a:cubicBezTo>
                  <a:cubicBezTo>
                    <a:pt x="112" y="257"/>
                    <a:pt x="123" y="252"/>
                    <a:pt x="131" y="242"/>
                  </a:cubicBezTo>
                  <a:cubicBezTo>
                    <a:pt x="139" y="233"/>
                    <a:pt x="144" y="222"/>
                    <a:pt x="144" y="210"/>
                  </a:cubicBezTo>
                  <a:cubicBezTo>
                    <a:pt x="144" y="193"/>
                    <a:pt x="136" y="179"/>
                    <a:pt x="120" y="170"/>
                  </a:cubicBezTo>
                  <a:cubicBezTo>
                    <a:pt x="112" y="164"/>
                    <a:pt x="95" y="158"/>
                    <a:pt x="69" y="149"/>
                  </a:cubicBezTo>
                  <a:cubicBezTo>
                    <a:pt x="52" y="144"/>
                    <a:pt x="39" y="137"/>
                    <a:pt x="28" y="128"/>
                  </a:cubicBezTo>
                  <a:cubicBezTo>
                    <a:pt x="11" y="115"/>
                    <a:pt x="2" y="97"/>
                    <a:pt x="2" y="72"/>
                  </a:cubicBezTo>
                  <a:cubicBezTo>
                    <a:pt x="2" y="50"/>
                    <a:pt x="10" y="32"/>
                    <a:pt x="26" y="19"/>
                  </a:cubicBezTo>
                  <a:cubicBezTo>
                    <a:pt x="40" y="6"/>
                    <a:pt x="58" y="0"/>
                    <a:pt x="80" y="0"/>
                  </a:cubicBezTo>
                  <a:cubicBezTo>
                    <a:pt x="99" y="0"/>
                    <a:pt x="117" y="5"/>
                    <a:pt x="134" y="16"/>
                  </a:cubicBezTo>
                  <a:cubicBezTo>
                    <a:pt x="138" y="18"/>
                    <a:pt x="140" y="19"/>
                    <a:pt x="142" y="19"/>
                  </a:cubicBezTo>
                  <a:cubicBezTo>
                    <a:pt x="146" y="19"/>
                    <a:pt x="149" y="14"/>
                    <a:pt x="151" y="6"/>
                  </a:cubicBezTo>
                  <a:lnTo>
                    <a:pt x="16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17"/>
            <p:cNvSpPr>
              <a:spLocks/>
            </p:cNvSpPr>
            <p:nvPr userDrawn="1"/>
          </p:nvSpPr>
          <p:spPr bwMode="auto">
            <a:xfrm>
              <a:off x="4710113" y="5807075"/>
              <a:ext cx="131763" cy="133350"/>
            </a:xfrm>
            <a:custGeom>
              <a:avLst/>
              <a:gdLst>
                <a:gd name="T0" fmla="*/ 0 w 83"/>
                <a:gd name="T1" fmla="*/ 84 h 84"/>
                <a:gd name="T2" fmla="*/ 0 w 83"/>
                <a:gd name="T3" fmla="*/ 0 h 84"/>
                <a:gd name="T4" fmla="*/ 46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6"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8454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vertical left transpar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8" name="think-cell Folie" r:id="rId5" imgW="360" imgH="360" progId="TCLayout.ActiveDocument.1">
                  <p:embed/>
                </p:oleObj>
              </mc:Choice>
              <mc:Fallback>
                <p:oleObj name="think-cell Folie" r:id="rId5" imgW="360" imgH="360" progId="TCLayout.ActiveDocument.1">
                  <p:embed/>
                  <p:pic>
                    <p:nvPicPr>
                      <p:cNvPr id="4" name="Objek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elplatzhalter 1"/>
          <p:cNvSpPr>
            <a:spLocks noGrp="1"/>
          </p:cNvSpPr>
          <p:nvPr>
            <p:ph type="ctrTitle" hasCustomPrompt="1"/>
          </p:nvPr>
        </p:nvSpPr>
        <p:spPr bwMode="black">
          <a:xfrm>
            <a:off x="323851" y="323850"/>
            <a:ext cx="5113337" cy="2466000"/>
          </a:xfrm>
          <a:noFill/>
        </p:spPr>
        <p:txBody>
          <a:bodyPr wrap="square" lIns="0" tIns="0">
            <a:noAutofit/>
          </a:bodyPr>
          <a:lstStyle>
            <a:lvl1pPr>
              <a:defRPr sz="6000" smtClean="0">
                <a:solidFill>
                  <a:schemeClr val="bg1"/>
                </a:solidFill>
                <a:latin typeface="TeleGrotesk Headline Ultra" pitchFamily="2" charset="0"/>
              </a:defRPr>
            </a:lvl1pPr>
          </a:lstStyle>
          <a:p>
            <a:r>
              <a:rPr lang="en-US" dirty="0" smtClean="0"/>
              <a:t>Headline Ultra </a:t>
            </a:r>
            <a:br>
              <a:rPr lang="en-US" dirty="0" smtClean="0"/>
            </a:br>
            <a:r>
              <a:rPr lang="en-US" dirty="0" smtClean="0"/>
              <a:t>(60) 75 90 PT</a:t>
            </a:r>
          </a:p>
        </p:txBody>
      </p:sp>
      <p:sp>
        <p:nvSpPr>
          <p:cNvPr id="3" name="Textplatzhalter 2"/>
          <p:cNvSpPr>
            <a:spLocks noGrp="1"/>
          </p:cNvSpPr>
          <p:nvPr>
            <p:ph type="body" sz="quarter" idx="11" hasCustomPrompt="1"/>
          </p:nvPr>
        </p:nvSpPr>
        <p:spPr bwMode="black">
          <a:xfrm>
            <a:off x="323850" y="3240088"/>
            <a:ext cx="5113338" cy="1008062"/>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en-US" noProof="0" dirty="0" smtClean="0"/>
              <a:t>Sub-heading </a:t>
            </a:r>
            <a:r>
              <a:rPr lang="en-US" dirty="0" smtClean="0"/>
              <a:t>Tele-</a:t>
            </a:r>
            <a:r>
              <a:rPr lang="en-US" dirty="0" err="1" smtClean="0"/>
              <a:t>GroteskFet</a:t>
            </a:r>
            <a:r>
              <a:rPr lang="en-US" dirty="0" smtClean="0"/>
              <a:t> 18 </a:t>
            </a:r>
            <a:r>
              <a:rPr lang="en-US" dirty="0" err="1" smtClean="0"/>
              <a:t>pt</a:t>
            </a:r>
            <a:endParaRPr lang="en-US" dirty="0" smtClean="0"/>
          </a:p>
        </p:txBody>
      </p:sp>
      <p:grpSp>
        <p:nvGrpSpPr>
          <p:cNvPr id="7" name="Gruppieren 6"/>
          <p:cNvGrpSpPr/>
          <p:nvPr userDrawn="1"/>
        </p:nvGrpSpPr>
        <p:grpSpPr>
          <a:xfrm>
            <a:off x="323850" y="5508625"/>
            <a:ext cx="4518026" cy="820738"/>
            <a:chOff x="323850" y="5508625"/>
            <a:chExt cx="4518026" cy="820738"/>
          </a:xfrm>
          <a:solidFill>
            <a:schemeClr val="bg1"/>
          </a:solidFill>
        </p:grpSpPr>
        <p:sp>
          <p:nvSpPr>
            <p:cNvPr id="8" name="Freeform 5"/>
            <p:cNvSpPr>
              <a:spLocks/>
            </p:cNvSpPr>
            <p:nvPr userDrawn="1"/>
          </p:nvSpPr>
          <p:spPr bwMode="auto">
            <a:xfrm>
              <a:off x="323850" y="5807075"/>
              <a:ext cx="131763" cy="133350"/>
            </a:xfrm>
            <a:custGeom>
              <a:avLst/>
              <a:gdLst>
                <a:gd name="T0" fmla="*/ 0 w 83"/>
                <a:gd name="T1" fmla="*/ 84 h 84"/>
                <a:gd name="T2" fmla="*/ 0 w 83"/>
                <a:gd name="T3" fmla="*/ 0 h 84"/>
                <a:gd name="T4" fmla="*/ 40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0"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p:cNvSpPr>
              <a:spLocks/>
            </p:cNvSpPr>
            <p:nvPr userDrawn="1"/>
          </p:nvSpPr>
          <p:spPr bwMode="auto">
            <a:xfrm>
              <a:off x="725488" y="5807075"/>
              <a:ext cx="131763" cy="133350"/>
            </a:xfrm>
            <a:custGeom>
              <a:avLst/>
              <a:gdLst>
                <a:gd name="T0" fmla="*/ 0 w 83"/>
                <a:gd name="T1" fmla="*/ 84 h 84"/>
                <a:gd name="T2" fmla="*/ 0 w 83"/>
                <a:gd name="T3" fmla="*/ 0 h 84"/>
                <a:gd name="T4" fmla="*/ 45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5"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p:cNvSpPr>
              <a:spLocks/>
            </p:cNvSpPr>
            <p:nvPr userDrawn="1"/>
          </p:nvSpPr>
          <p:spPr bwMode="auto">
            <a:xfrm>
              <a:off x="1120775" y="5807075"/>
              <a:ext cx="131763" cy="133350"/>
            </a:xfrm>
            <a:custGeom>
              <a:avLst/>
              <a:gdLst>
                <a:gd name="T0" fmla="*/ 0 w 83"/>
                <a:gd name="T1" fmla="*/ 84 h 84"/>
                <a:gd name="T2" fmla="*/ 0 w 83"/>
                <a:gd name="T3" fmla="*/ 0 h 84"/>
                <a:gd name="T4" fmla="*/ 42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2"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p:cNvSpPr>
              <a:spLocks/>
            </p:cNvSpPr>
            <p:nvPr userDrawn="1"/>
          </p:nvSpPr>
          <p:spPr bwMode="auto">
            <a:xfrm>
              <a:off x="1514475" y="5807075"/>
              <a:ext cx="133350" cy="133350"/>
            </a:xfrm>
            <a:custGeom>
              <a:avLst/>
              <a:gdLst>
                <a:gd name="T0" fmla="*/ 0 w 84"/>
                <a:gd name="T1" fmla="*/ 84 h 84"/>
                <a:gd name="T2" fmla="*/ 0 w 84"/>
                <a:gd name="T3" fmla="*/ 0 h 84"/>
                <a:gd name="T4" fmla="*/ 39 w 84"/>
                <a:gd name="T5" fmla="*/ 0 h 84"/>
                <a:gd name="T6" fmla="*/ 84 w 84"/>
                <a:gd name="T7" fmla="*/ 0 h 84"/>
                <a:gd name="T8" fmla="*/ 84 w 84"/>
                <a:gd name="T9" fmla="*/ 84 h 84"/>
                <a:gd name="T10" fmla="*/ 0 w 84"/>
                <a:gd name="T11" fmla="*/ 84 h 84"/>
              </a:gdLst>
              <a:ahLst/>
              <a:cxnLst>
                <a:cxn ang="0">
                  <a:pos x="T0" y="T1"/>
                </a:cxn>
                <a:cxn ang="0">
                  <a:pos x="T2" y="T3"/>
                </a:cxn>
                <a:cxn ang="0">
                  <a:pos x="T4" y="T5"/>
                </a:cxn>
                <a:cxn ang="0">
                  <a:pos x="T6" y="T7"/>
                </a:cxn>
                <a:cxn ang="0">
                  <a:pos x="T8" y="T9"/>
                </a:cxn>
                <a:cxn ang="0">
                  <a:pos x="T10" y="T11"/>
                </a:cxn>
              </a:cxnLst>
              <a:rect l="0" t="0" r="r" b="b"/>
              <a:pathLst>
                <a:path w="84" h="84">
                  <a:moveTo>
                    <a:pt x="0" y="84"/>
                  </a:moveTo>
                  <a:lnTo>
                    <a:pt x="0" y="0"/>
                  </a:lnTo>
                  <a:lnTo>
                    <a:pt x="39" y="0"/>
                  </a:lnTo>
                  <a:lnTo>
                    <a:pt x="84" y="0"/>
                  </a:lnTo>
                  <a:lnTo>
                    <a:pt x="84"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p:cNvSpPr>
              <a:spLocks/>
            </p:cNvSpPr>
            <p:nvPr userDrawn="1"/>
          </p:nvSpPr>
          <p:spPr bwMode="auto">
            <a:xfrm>
              <a:off x="323850" y="5508625"/>
              <a:ext cx="533400" cy="650875"/>
            </a:xfrm>
            <a:custGeom>
              <a:avLst/>
              <a:gdLst>
                <a:gd name="T0" fmla="*/ 322 w 325"/>
                <a:gd name="T1" fmla="*/ 0 h 397"/>
                <a:gd name="T2" fmla="*/ 4 w 325"/>
                <a:gd name="T3" fmla="*/ 0 h 397"/>
                <a:gd name="T4" fmla="*/ 0 w 325"/>
                <a:gd name="T5" fmla="*/ 140 h 397"/>
                <a:gd name="T6" fmla="*/ 21 w 325"/>
                <a:gd name="T7" fmla="*/ 143 h 397"/>
                <a:gd name="T8" fmla="*/ 54 w 325"/>
                <a:gd name="T9" fmla="*/ 52 h 397"/>
                <a:gd name="T10" fmla="*/ 131 w 325"/>
                <a:gd name="T11" fmla="*/ 19 h 397"/>
                <a:gd name="T12" fmla="*/ 131 w 325"/>
                <a:gd name="T13" fmla="*/ 312 h 397"/>
                <a:gd name="T14" fmla="*/ 120 w 325"/>
                <a:gd name="T15" fmla="*/ 362 h 397"/>
                <a:gd name="T16" fmla="*/ 88 w 325"/>
                <a:gd name="T17" fmla="*/ 374 h 397"/>
                <a:gd name="T18" fmla="*/ 65 w 325"/>
                <a:gd name="T19" fmla="*/ 374 h 397"/>
                <a:gd name="T20" fmla="*/ 65 w 325"/>
                <a:gd name="T21" fmla="*/ 397 h 397"/>
                <a:gd name="T22" fmla="*/ 261 w 325"/>
                <a:gd name="T23" fmla="*/ 397 h 397"/>
                <a:gd name="T24" fmla="*/ 261 w 325"/>
                <a:gd name="T25" fmla="*/ 374 h 397"/>
                <a:gd name="T26" fmla="*/ 238 w 325"/>
                <a:gd name="T27" fmla="*/ 374 h 397"/>
                <a:gd name="T28" fmla="*/ 206 w 325"/>
                <a:gd name="T29" fmla="*/ 362 h 397"/>
                <a:gd name="T30" fmla="*/ 194 w 325"/>
                <a:gd name="T31" fmla="*/ 312 h 397"/>
                <a:gd name="T32" fmla="*/ 194 w 325"/>
                <a:gd name="T33" fmla="*/ 19 h 397"/>
                <a:gd name="T34" fmla="*/ 272 w 325"/>
                <a:gd name="T35" fmla="*/ 52 h 397"/>
                <a:gd name="T36" fmla="*/ 304 w 325"/>
                <a:gd name="T37" fmla="*/ 143 h 397"/>
                <a:gd name="T38" fmla="*/ 325 w 325"/>
                <a:gd name="T39" fmla="*/ 140 h 397"/>
                <a:gd name="T40" fmla="*/ 322 w 325"/>
                <a:gd name="T41"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 h="397">
                  <a:moveTo>
                    <a:pt x="322" y="0"/>
                  </a:moveTo>
                  <a:cubicBezTo>
                    <a:pt x="4" y="0"/>
                    <a:pt x="4" y="0"/>
                    <a:pt x="4" y="0"/>
                  </a:cubicBezTo>
                  <a:cubicBezTo>
                    <a:pt x="0" y="140"/>
                    <a:pt x="0" y="140"/>
                    <a:pt x="0" y="140"/>
                  </a:cubicBezTo>
                  <a:cubicBezTo>
                    <a:pt x="21" y="143"/>
                    <a:pt x="21" y="143"/>
                    <a:pt x="21" y="143"/>
                  </a:cubicBezTo>
                  <a:cubicBezTo>
                    <a:pt x="25" y="102"/>
                    <a:pt x="36" y="72"/>
                    <a:pt x="54" y="52"/>
                  </a:cubicBezTo>
                  <a:cubicBezTo>
                    <a:pt x="72" y="31"/>
                    <a:pt x="98" y="20"/>
                    <a:pt x="131" y="19"/>
                  </a:cubicBezTo>
                  <a:cubicBezTo>
                    <a:pt x="131" y="312"/>
                    <a:pt x="131" y="312"/>
                    <a:pt x="131" y="312"/>
                  </a:cubicBezTo>
                  <a:cubicBezTo>
                    <a:pt x="131" y="337"/>
                    <a:pt x="127" y="354"/>
                    <a:pt x="120" y="362"/>
                  </a:cubicBezTo>
                  <a:cubicBezTo>
                    <a:pt x="114" y="368"/>
                    <a:pt x="103" y="372"/>
                    <a:pt x="88" y="374"/>
                  </a:cubicBezTo>
                  <a:cubicBezTo>
                    <a:pt x="83" y="374"/>
                    <a:pt x="76" y="374"/>
                    <a:pt x="65" y="374"/>
                  </a:cubicBezTo>
                  <a:cubicBezTo>
                    <a:pt x="65" y="397"/>
                    <a:pt x="65" y="397"/>
                    <a:pt x="65" y="397"/>
                  </a:cubicBezTo>
                  <a:cubicBezTo>
                    <a:pt x="261" y="397"/>
                    <a:pt x="261" y="397"/>
                    <a:pt x="261" y="397"/>
                  </a:cubicBezTo>
                  <a:cubicBezTo>
                    <a:pt x="261" y="374"/>
                    <a:pt x="261" y="374"/>
                    <a:pt x="261" y="374"/>
                  </a:cubicBezTo>
                  <a:cubicBezTo>
                    <a:pt x="250" y="374"/>
                    <a:pt x="242" y="374"/>
                    <a:pt x="238" y="374"/>
                  </a:cubicBezTo>
                  <a:cubicBezTo>
                    <a:pt x="223" y="372"/>
                    <a:pt x="212" y="368"/>
                    <a:pt x="206" y="362"/>
                  </a:cubicBezTo>
                  <a:cubicBezTo>
                    <a:pt x="198" y="354"/>
                    <a:pt x="194" y="337"/>
                    <a:pt x="194" y="312"/>
                  </a:cubicBezTo>
                  <a:cubicBezTo>
                    <a:pt x="194" y="19"/>
                    <a:pt x="194" y="19"/>
                    <a:pt x="194" y="19"/>
                  </a:cubicBezTo>
                  <a:cubicBezTo>
                    <a:pt x="228" y="20"/>
                    <a:pt x="253" y="31"/>
                    <a:pt x="272" y="52"/>
                  </a:cubicBezTo>
                  <a:cubicBezTo>
                    <a:pt x="290" y="72"/>
                    <a:pt x="301" y="102"/>
                    <a:pt x="304" y="143"/>
                  </a:cubicBezTo>
                  <a:cubicBezTo>
                    <a:pt x="325" y="140"/>
                    <a:pt x="325" y="140"/>
                    <a:pt x="325" y="140"/>
                  </a:cubicBezTo>
                  <a:lnTo>
                    <a:pt x="3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p:cNvSpPr>
              <a:spLocks/>
            </p:cNvSpPr>
            <p:nvPr userDrawn="1"/>
          </p:nvSpPr>
          <p:spPr bwMode="auto">
            <a:xfrm>
              <a:off x="1762125" y="5518150"/>
              <a:ext cx="392113" cy="657225"/>
            </a:xfrm>
            <a:custGeom>
              <a:avLst/>
              <a:gdLst>
                <a:gd name="T0" fmla="*/ 202 w 239"/>
                <a:gd name="T1" fmla="*/ 134 h 400"/>
                <a:gd name="T2" fmla="*/ 175 w 239"/>
                <a:gd name="T3" fmla="*/ 59 h 400"/>
                <a:gd name="T4" fmla="*/ 108 w 239"/>
                <a:gd name="T5" fmla="*/ 20 h 400"/>
                <a:gd name="T6" fmla="*/ 66 w 239"/>
                <a:gd name="T7" fmla="*/ 35 h 400"/>
                <a:gd name="T8" fmla="*/ 45 w 239"/>
                <a:gd name="T9" fmla="*/ 84 h 400"/>
                <a:gd name="T10" fmla="*/ 68 w 239"/>
                <a:gd name="T11" fmla="*/ 134 h 400"/>
                <a:gd name="T12" fmla="*/ 120 w 239"/>
                <a:gd name="T13" fmla="*/ 159 h 400"/>
                <a:gd name="T14" fmla="*/ 198 w 239"/>
                <a:gd name="T15" fmla="*/ 193 h 400"/>
                <a:gd name="T16" fmla="*/ 239 w 239"/>
                <a:gd name="T17" fmla="*/ 279 h 400"/>
                <a:gd name="T18" fmla="*/ 205 w 239"/>
                <a:gd name="T19" fmla="*/ 367 h 400"/>
                <a:gd name="T20" fmla="*/ 127 w 239"/>
                <a:gd name="T21" fmla="*/ 400 h 400"/>
                <a:gd name="T22" fmla="*/ 82 w 239"/>
                <a:gd name="T23" fmla="*/ 391 h 400"/>
                <a:gd name="T24" fmla="*/ 52 w 239"/>
                <a:gd name="T25" fmla="*/ 374 h 400"/>
                <a:gd name="T26" fmla="*/ 40 w 239"/>
                <a:gd name="T27" fmla="*/ 370 h 400"/>
                <a:gd name="T28" fmla="*/ 26 w 239"/>
                <a:gd name="T29" fmla="*/ 378 h 400"/>
                <a:gd name="T30" fmla="*/ 18 w 239"/>
                <a:gd name="T31" fmla="*/ 391 h 400"/>
                <a:gd name="T32" fmla="*/ 0 w 239"/>
                <a:gd name="T33" fmla="*/ 391 h 400"/>
                <a:gd name="T34" fmla="*/ 0 w 239"/>
                <a:gd name="T35" fmla="*/ 252 h 400"/>
                <a:gd name="T36" fmla="*/ 19 w 239"/>
                <a:gd name="T37" fmla="*/ 252 h 400"/>
                <a:gd name="T38" fmla="*/ 46 w 239"/>
                <a:gd name="T39" fmla="*/ 332 h 400"/>
                <a:gd name="T40" fmla="*/ 124 w 239"/>
                <a:gd name="T41" fmla="*/ 379 h 400"/>
                <a:gd name="T42" fmla="*/ 171 w 239"/>
                <a:gd name="T43" fmla="*/ 363 h 400"/>
                <a:gd name="T44" fmla="*/ 195 w 239"/>
                <a:gd name="T45" fmla="*/ 304 h 400"/>
                <a:gd name="T46" fmla="*/ 158 w 239"/>
                <a:gd name="T47" fmla="*/ 239 h 400"/>
                <a:gd name="T48" fmla="*/ 94 w 239"/>
                <a:gd name="T49" fmla="*/ 214 h 400"/>
                <a:gd name="T50" fmla="*/ 35 w 239"/>
                <a:gd name="T51" fmla="*/ 183 h 400"/>
                <a:gd name="T52" fmla="*/ 3 w 239"/>
                <a:gd name="T53" fmla="*/ 107 h 400"/>
                <a:gd name="T54" fmla="*/ 38 w 239"/>
                <a:gd name="T55" fmla="*/ 25 h 400"/>
                <a:gd name="T56" fmla="*/ 105 w 239"/>
                <a:gd name="T57" fmla="*/ 0 h 400"/>
                <a:gd name="T58" fmla="*/ 148 w 239"/>
                <a:gd name="T59" fmla="*/ 8 h 400"/>
                <a:gd name="T60" fmla="*/ 175 w 239"/>
                <a:gd name="T61" fmla="*/ 23 h 400"/>
                <a:gd name="T62" fmla="*/ 185 w 239"/>
                <a:gd name="T63" fmla="*/ 26 h 400"/>
                <a:gd name="T64" fmla="*/ 203 w 239"/>
                <a:gd name="T65" fmla="*/ 8 h 400"/>
                <a:gd name="T66" fmla="*/ 219 w 239"/>
                <a:gd name="T67" fmla="*/ 8 h 400"/>
                <a:gd name="T68" fmla="*/ 219 w 239"/>
                <a:gd name="T69" fmla="*/ 134 h 400"/>
                <a:gd name="T70" fmla="*/ 202 w 239"/>
                <a:gd name="T71" fmla="*/ 13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9" h="400">
                  <a:moveTo>
                    <a:pt x="202" y="134"/>
                  </a:moveTo>
                  <a:cubicBezTo>
                    <a:pt x="195" y="100"/>
                    <a:pt x="186" y="75"/>
                    <a:pt x="175" y="59"/>
                  </a:cubicBezTo>
                  <a:cubicBezTo>
                    <a:pt x="158" y="33"/>
                    <a:pt x="135" y="20"/>
                    <a:pt x="108" y="20"/>
                  </a:cubicBezTo>
                  <a:cubicBezTo>
                    <a:pt x="91" y="20"/>
                    <a:pt x="77" y="25"/>
                    <a:pt x="66" y="35"/>
                  </a:cubicBezTo>
                  <a:cubicBezTo>
                    <a:pt x="52" y="47"/>
                    <a:pt x="45" y="63"/>
                    <a:pt x="45" y="84"/>
                  </a:cubicBezTo>
                  <a:cubicBezTo>
                    <a:pt x="45" y="105"/>
                    <a:pt x="53" y="122"/>
                    <a:pt x="68" y="134"/>
                  </a:cubicBezTo>
                  <a:cubicBezTo>
                    <a:pt x="77" y="142"/>
                    <a:pt x="94" y="150"/>
                    <a:pt x="120" y="159"/>
                  </a:cubicBezTo>
                  <a:cubicBezTo>
                    <a:pt x="159" y="172"/>
                    <a:pt x="184" y="184"/>
                    <a:pt x="198" y="193"/>
                  </a:cubicBezTo>
                  <a:cubicBezTo>
                    <a:pt x="225" y="214"/>
                    <a:pt x="239" y="243"/>
                    <a:pt x="239" y="279"/>
                  </a:cubicBezTo>
                  <a:cubicBezTo>
                    <a:pt x="239" y="314"/>
                    <a:pt x="228" y="344"/>
                    <a:pt x="205" y="367"/>
                  </a:cubicBezTo>
                  <a:cubicBezTo>
                    <a:pt x="184" y="389"/>
                    <a:pt x="158" y="400"/>
                    <a:pt x="127" y="400"/>
                  </a:cubicBezTo>
                  <a:cubicBezTo>
                    <a:pt x="111" y="400"/>
                    <a:pt x="96" y="397"/>
                    <a:pt x="82" y="391"/>
                  </a:cubicBezTo>
                  <a:cubicBezTo>
                    <a:pt x="76" y="388"/>
                    <a:pt x="66" y="383"/>
                    <a:pt x="52" y="374"/>
                  </a:cubicBezTo>
                  <a:cubicBezTo>
                    <a:pt x="48" y="372"/>
                    <a:pt x="44" y="370"/>
                    <a:pt x="40" y="370"/>
                  </a:cubicBezTo>
                  <a:cubicBezTo>
                    <a:pt x="34" y="370"/>
                    <a:pt x="30" y="373"/>
                    <a:pt x="26" y="378"/>
                  </a:cubicBezTo>
                  <a:cubicBezTo>
                    <a:pt x="24" y="381"/>
                    <a:pt x="21" y="385"/>
                    <a:pt x="18" y="391"/>
                  </a:cubicBezTo>
                  <a:cubicBezTo>
                    <a:pt x="0" y="391"/>
                    <a:pt x="0" y="391"/>
                    <a:pt x="0" y="391"/>
                  </a:cubicBezTo>
                  <a:cubicBezTo>
                    <a:pt x="0" y="252"/>
                    <a:pt x="0" y="252"/>
                    <a:pt x="0" y="252"/>
                  </a:cubicBezTo>
                  <a:cubicBezTo>
                    <a:pt x="19" y="252"/>
                    <a:pt x="19" y="252"/>
                    <a:pt x="19" y="252"/>
                  </a:cubicBezTo>
                  <a:cubicBezTo>
                    <a:pt x="25" y="287"/>
                    <a:pt x="35" y="314"/>
                    <a:pt x="46" y="332"/>
                  </a:cubicBezTo>
                  <a:cubicBezTo>
                    <a:pt x="66" y="364"/>
                    <a:pt x="92" y="379"/>
                    <a:pt x="124" y="379"/>
                  </a:cubicBezTo>
                  <a:cubicBezTo>
                    <a:pt x="143" y="379"/>
                    <a:pt x="159" y="374"/>
                    <a:pt x="171" y="363"/>
                  </a:cubicBezTo>
                  <a:cubicBezTo>
                    <a:pt x="187" y="348"/>
                    <a:pt x="195" y="329"/>
                    <a:pt x="195" y="304"/>
                  </a:cubicBezTo>
                  <a:cubicBezTo>
                    <a:pt x="195" y="275"/>
                    <a:pt x="183" y="253"/>
                    <a:pt x="158" y="239"/>
                  </a:cubicBezTo>
                  <a:cubicBezTo>
                    <a:pt x="150" y="234"/>
                    <a:pt x="129" y="226"/>
                    <a:pt x="94" y="214"/>
                  </a:cubicBezTo>
                  <a:cubicBezTo>
                    <a:pt x="69" y="206"/>
                    <a:pt x="49" y="195"/>
                    <a:pt x="35" y="183"/>
                  </a:cubicBezTo>
                  <a:cubicBezTo>
                    <a:pt x="14" y="164"/>
                    <a:pt x="3" y="139"/>
                    <a:pt x="3" y="107"/>
                  </a:cubicBezTo>
                  <a:cubicBezTo>
                    <a:pt x="3" y="72"/>
                    <a:pt x="15" y="45"/>
                    <a:pt x="38" y="25"/>
                  </a:cubicBezTo>
                  <a:cubicBezTo>
                    <a:pt x="56" y="8"/>
                    <a:pt x="79" y="0"/>
                    <a:pt x="105" y="0"/>
                  </a:cubicBezTo>
                  <a:cubicBezTo>
                    <a:pt x="119" y="0"/>
                    <a:pt x="134" y="2"/>
                    <a:pt x="148" y="8"/>
                  </a:cubicBezTo>
                  <a:cubicBezTo>
                    <a:pt x="153" y="10"/>
                    <a:pt x="162" y="15"/>
                    <a:pt x="175" y="23"/>
                  </a:cubicBezTo>
                  <a:cubicBezTo>
                    <a:pt x="179" y="25"/>
                    <a:pt x="182" y="26"/>
                    <a:pt x="185" y="26"/>
                  </a:cubicBezTo>
                  <a:cubicBezTo>
                    <a:pt x="191" y="26"/>
                    <a:pt x="197" y="20"/>
                    <a:pt x="203" y="8"/>
                  </a:cubicBezTo>
                  <a:cubicBezTo>
                    <a:pt x="219" y="8"/>
                    <a:pt x="219" y="8"/>
                    <a:pt x="219" y="8"/>
                  </a:cubicBezTo>
                  <a:cubicBezTo>
                    <a:pt x="219" y="134"/>
                    <a:pt x="219" y="134"/>
                    <a:pt x="219" y="134"/>
                  </a:cubicBezTo>
                  <a:lnTo>
                    <a:pt x="202"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1"/>
            <p:cNvSpPr>
              <a:spLocks/>
            </p:cNvSpPr>
            <p:nvPr userDrawn="1"/>
          </p:nvSpPr>
          <p:spPr bwMode="auto">
            <a:xfrm>
              <a:off x="2181225" y="5727700"/>
              <a:ext cx="422275" cy="601663"/>
            </a:xfrm>
            <a:custGeom>
              <a:avLst/>
              <a:gdLst>
                <a:gd name="T0" fmla="*/ 0 w 258"/>
                <a:gd name="T1" fmla="*/ 0 h 367"/>
                <a:gd name="T2" fmla="*/ 119 w 258"/>
                <a:gd name="T3" fmla="*/ 0 h 367"/>
                <a:gd name="T4" fmla="*/ 119 w 258"/>
                <a:gd name="T5" fmla="*/ 18 h 367"/>
                <a:gd name="T6" fmla="*/ 109 w 258"/>
                <a:gd name="T7" fmla="*/ 18 h 367"/>
                <a:gd name="T8" fmla="*/ 86 w 258"/>
                <a:gd name="T9" fmla="*/ 30 h 367"/>
                <a:gd name="T10" fmla="*/ 90 w 258"/>
                <a:gd name="T11" fmla="*/ 46 h 367"/>
                <a:gd name="T12" fmla="*/ 147 w 258"/>
                <a:gd name="T13" fmla="*/ 196 h 367"/>
                <a:gd name="T14" fmla="*/ 197 w 258"/>
                <a:gd name="T15" fmla="*/ 57 h 367"/>
                <a:gd name="T16" fmla="*/ 202 w 258"/>
                <a:gd name="T17" fmla="*/ 34 h 367"/>
                <a:gd name="T18" fmla="*/ 177 w 258"/>
                <a:gd name="T19" fmla="*/ 18 h 367"/>
                <a:gd name="T20" fmla="*/ 164 w 258"/>
                <a:gd name="T21" fmla="*/ 18 h 367"/>
                <a:gd name="T22" fmla="*/ 164 w 258"/>
                <a:gd name="T23" fmla="*/ 0 h 367"/>
                <a:gd name="T24" fmla="*/ 258 w 258"/>
                <a:gd name="T25" fmla="*/ 0 h 367"/>
                <a:gd name="T26" fmla="*/ 258 w 258"/>
                <a:gd name="T27" fmla="*/ 18 h 367"/>
                <a:gd name="T28" fmla="*/ 252 w 258"/>
                <a:gd name="T29" fmla="*/ 18 h 367"/>
                <a:gd name="T30" fmla="*/ 235 w 258"/>
                <a:gd name="T31" fmla="*/ 26 h 367"/>
                <a:gd name="T32" fmla="*/ 226 w 258"/>
                <a:gd name="T33" fmla="*/ 44 h 367"/>
                <a:gd name="T34" fmla="*/ 131 w 258"/>
                <a:gd name="T35" fmla="*/ 299 h 367"/>
                <a:gd name="T36" fmla="*/ 101 w 258"/>
                <a:gd name="T37" fmla="*/ 351 h 367"/>
                <a:gd name="T38" fmla="*/ 60 w 258"/>
                <a:gd name="T39" fmla="*/ 367 h 367"/>
                <a:gd name="T40" fmla="*/ 25 w 258"/>
                <a:gd name="T41" fmla="*/ 355 h 367"/>
                <a:gd name="T42" fmla="*/ 7 w 258"/>
                <a:gd name="T43" fmla="*/ 318 h 367"/>
                <a:gd name="T44" fmla="*/ 15 w 258"/>
                <a:gd name="T45" fmla="*/ 295 h 367"/>
                <a:gd name="T46" fmla="*/ 38 w 258"/>
                <a:gd name="T47" fmla="*/ 285 h 367"/>
                <a:gd name="T48" fmla="*/ 62 w 258"/>
                <a:gd name="T49" fmla="*/ 296 h 367"/>
                <a:gd name="T50" fmla="*/ 67 w 258"/>
                <a:gd name="T51" fmla="*/ 313 h 367"/>
                <a:gd name="T52" fmla="*/ 58 w 258"/>
                <a:gd name="T53" fmla="*/ 334 h 367"/>
                <a:gd name="T54" fmla="*/ 43 w 258"/>
                <a:gd name="T55" fmla="*/ 341 h 367"/>
                <a:gd name="T56" fmla="*/ 61 w 258"/>
                <a:gd name="T57" fmla="*/ 348 h 367"/>
                <a:gd name="T58" fmla="*/ 90 w 258"/>
                <a:gd name="T59" fmla="*/ 335 h 367"/>
                <a:gd name="T60" fmla="*/ 115 w 258"/>
                <a:gd name="T61" fmla="*/ 284 h 367"/>
                <a:gd name="T62" fmla="*/ 121 w 258"/>
                <a:gd name="T63" fmla="*/ 266 h 367"/>
                <a:gd name="T64" fmla="*/ 42 w 258"/>
                <a:gd name="T65" fmla="*/ 55 h 367"/>
                <a:gd name="T66" fmla="*/ 27 w 258"/>
                <a:gd name="T67" fmla="*/ 24 h 367"/>
                <a:gd name="T68" fmla="*/ 4 w 258"/>
                <a:gd name="T69" fmla="*/ 18 h 367"/>
                <a:gd name="T70" fmla="*/ 0 w 258"/>
                <a:gd name="T71" fmla="*/ 18 h 367"/>
                <a:gd name="T72" fmla="*/ 0 w 258"/>
                <a:gd name="T73"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8" h="367">
                  <a:moveTo>
                    <a:pt x="0" y="0"/>
                  </a:moveTo>
                  <a:cubicBezTo>
                    <a:pt x="119" y="0"/>
                    <a:pt x="119" y="0"/>
                    <a:pt x="119" y="0"/>
                  </a:cubicBezTo>
                  <a:cubicBezTo>
                    <a:pt x="119" y="18"/>
                    <a:pt x="119" y="18"/>
                    <a:pt x="119" y="18"/>
                  </a:cubicBezTo>
                  <a:cubicBezTo>
                    <a:pt x="109" y="18"/>
                    <a:pt x="109" y="18"/>
                    <a:pt x="109" y="18"/>
                  </a:cubicBezTo>
                  <a:cubicBezTo>
                    <a:pt x="93" y="18"/>
                    <a:pt x="86" y="22"/>
                    <a:pt x="86" y="30"/>
                  </a:cubicBezTo>
                  <a:cubicBezTo>
                    <a:pt x="86" y="34"/>
                    <a:pt x="87" y="39"/>
                    <a:pt x="90" y="46"/>
                  </a:cubicBezTo>
                  <a:cubicBezTo>
                    <a:pt x="147" y="196"/>
                    <a:pt x="147" y="196"/>
                    <a:pt x="147" y="196"/>
                  </a:cubicBezTo>
                  <a:cubicBezTo>
                    <a:pt x="197" y="57"/>
                    <a:pt x="197" y="57"/>
                    <a:pt x="197" y="57"/>
                  </a:cubicBezTo>
                  <a:cubicBezTo>
                    <a:pt x="200" y="47"/>
                    <a:pt x="202" y="39"/>
                    <a:pt x="202" y="34"/>
                  </a:cubicBezTo>
                  <a:cubicBezTo>
                    <a:pt x="202" y="23"/>
                    <a:pt x="194" y="18"/>
                    <a:pt x="177" y="18"/>
                  </a:cubicBezTo>
                  <a:cubicBezTo>
                    <a:pt x="164" y="18"/>
                    <a:pt x="164" y="18"/>
                    <a:pt x="164" y="18"/>
                  </a:cubicBezTo>
                  <a:cubicBezTo>
                    <a:pt x="164" y="0"/>
                    <a:pt x="164" y="0"/>
                    <a:pt x="164" y="0"/>
                  </a:cubicBezTo>
                  <a:cubicBezTo>
                    <a:pt x="258" y="0"/>
                    <a:pt x="258" y="0"/>
                    <a:pt x="258" y="0"/>
                  </a:cubicBezTo>
                  <a:cubicBezTo>
                    <a:pt x="258" y="18"/>
                    <a:pt x="258" y="18"/>
                    <a:pt x="258" y="18"/>
                  </a:cubicBezTo>
                  <a:cubicBezTo>
                    <a:pt x="252" y="18"/>
                    <a:pt x="252" y="18"/>
                    <a:pt x="252" y="18"/>
                  </a:cubicBezTo>
                  <a:cubicBezTo>
                    <a:pt x="245" y="18"/>
                    <a:pt x="240" y="20"/>
                    <a:pt x="235" y="26"/>
                  </a:cubicBezTo>
                  <a:cubicBezTo>
                    <a:pt x="232" y="29"/>
                    <a:pt x="229" y="36"/>
                    <a:pt x="226" y="44"/>
                  </a:cubicBezTo>
                  <a:cubicBezTo>
                    <a:pt x="131" y="299"/>
                    <a:pt x="131" y="299"/>
                    <a:pt x="131" y="299"/>
                  </a:cubicBezTo>
                  <a:cubicBezTo>
                    <a:pt x="122" y="323"/>
                    <a:pt x="112" y="340"/>
                    <a:pt x="101" y="351"/>
                  </a:cubicBezTo>
                  <a:cubicBezTo>
                    <a:pt x="90" y="362"/>
                    <a:pt x="76" y="367"/>
                    <a:pt x="60" y="367"/>
                  </a:cubicBezTo>
                  <a:cubicBezTo>
                    <a:pt x="46" y="367"/>
                    <a:pt x="34" y="363"/>
                    <a:pt x="25" y="355"/>
                  </a:cubicBezTo>
                  <a:cubicBezTo>
                    <a:pt x="13" y="345"/>
                    <a:pt x="7" y="333"/>
                    <a:pt x="7" y="318"/>
                  </a:cubicBezTo>
                  <a:cubicBezTo>
                    <a:pt x="7" y="309"/>
                    <a:pt x="10" y="301"/>
                    <a:pt x="15" y="295"/>
                  </a:cubicBezTo>
                  <a:cubicBezTo>
                    <a:pt x="21" y="288"/>
                    <a:pt x="28" y="285"/>
                    <a:pt x="38" y="285"/>
                  </a:cubicBezTo>
                  <a:cubicBezTo>
                    <a:pt x="49" y="285"/>
                    <a:pt x="57" y="289"/>
                    <a:pt x="62" y="296"/>
                  </a:cubicBezTo>
                  <a:cubicBezTo>
                    <a:pt x="66" y="301"/>
                    <a:pt x="67" y="306"/>
                    <a:pt x="67" y="313"/>
                  </a:cubicBezTo>
                  <a:cubicBezTo>
                    <a:pt x="67" y="321"/>
                    <a:pt x="64" y="328"/>
                    <a:pt x="58" y="334"/>
                  </a:cubicBezTo>
                  <a:cubicBezTo>
                    <a:pt x="54" y="337"/>
                    <a:pt x="49" y="340"/>
                    <a:pt x="43" y="341"/>
                  </a:cubicBezTo>
                  <a:cubicBezTo>
                    <a:pt x="48" y="345"/>
                    <a:pt x="53" y="348"/>
                    <a:pt x="61" y="348"/>
                  </a:cubicBezTo>
                  <a:cubicBezTo>
                    <a:pt x="72" y="348"/>
                    <a:pt x="82" y="343"/>
                    <a:pt x="90" y="335"/>
                  </a:cubicBezTo>
                  <a:cubicBezTo>
                    <a:pt x="97" y="327"/>
                    <a:pt x="106" y="310"/>
                    <a:pt x="115" y="284"/>
                  </a:cubicBezTo>
                  <a:cubicBezTo>
                    <a:pt x="121" y="266"/>
                    <a:pt x="121" y="266"/>
                    <a:pt x="121" y="266"/>
                  </a:cubicBezTo>
                  <a:cubicBezTo>
                    <a:pt x="42" y="55"/>
                    <a:pt x="42" y="55"/>
                    <a:pt x="42" y="55"/>
                  </a:cubicBezTo>
                  <a:cubicBezTo>
                    <a:pt x="36" y="38"/>
                    <a:pt x="31" y="28"/>
                    <a:pt x="27" y="24"/>
                  </a:cubicBezTo>
                  <a:cubicBezTo>
                    <a:pt x="21" y="20"/>
                    <a:pt x="14" y="18"/>
                    <a:pt x="4" y="18"/>
                  </a:cubicBezTo>
                  <a:cubicBezTo>
                    <a:pt x="0" y="18"/>
                    <a:pt x="0" y="18"/>
                    <a:pt x="0" y="18"/>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2"/>
            <p:cNvSpPr>
              <a:spLocks/>
            </p:cNvSpPr>
            <p:nvPr userDrawn="1"/>
          </p:nvSpPr>
          <p:spPr bwMode="auto">
            <a:xfrm>
              <a:off x="2609850" y="5716588"/>
              <a:ext cx="301625" cy="452438"/>
            </a:xfrm>
            <a:custGeom>
              <a:avLst/>
              <a:gdLst>
                <a:gd name="T0" fmla="*/ 168 w 184"/>
                <a:gd name="T1" fmla="*/ 6 h 275"/>
                <a:gd name="T2" fmla="*/ 168 w 184"/>
                <a:gd name="T3" fmla="*/ 89 h 275"/>
                <a:gd name="T4" fmla="*/ 151 w 184"/>
                <a:gd name="T5" fmla="*/ 89 h 275"/>
                <a:gd name="T6" fmla="*/ 84 w 184"/>
                <a:gd name="T7" fmla="*/ 17 h 275"/>
                <a:gd name="T8" fmla="*/ 53 w 184"/>
                <a:gd name="T9" fmla="*/ 28 h 275"/>
                <a:gd name="T10" fmla="*/ 41 w 184"/>
                <a:gd name="T11" fmla="*/ 57 h 275"/>
                <a:gd name="T12" fmla="*/ 58 w 184"/>
                <a:gd name="T13" fmla="*/ 88 h 275"/>
                <a:gd name="T14" fmla="*/ 89 w 184"/>
                <a:gd name="T15" fmla="*/ 101 h 275"/>
                <a:gd name="T16" fmla="*/ 152 w 184"/>
                <a:gd name="T17" fmla="*/ 128 h 275"/>
                <a:gd name="T18" fmla="*/ 184 w 184"/>
                <a:gd name="T19" fmla="*/ 191 h 275"/>
                <a:gd name="T20" fmla="*/ 157 w 184"/>
                <a:gd name="T21" fmla="*/ 255 h 275"/>
                <a:gd name="T22" fmla="*/ 98 w 184"/>
                <a:gd name="T23" fmla="*/ 275 h 275"/>
                <a:gd name="T24" fmla="*/ 60 w 184"/>
                <a:gd name="T25" fmla="*/ 268 h 275"/>
                <a:gd name="T26" fmla="*/ 34 w 184"/>
                <a:gd name="T27" fmla="*/ 254 h 275"/>
                <a:gd name="T28" fmla="*/ 26 w 184"/>
                <a:gd name="T29" fmla="*/ 252 h 275"/>
                <a:gd name="T30" fmla="*/ 16 w 184"/>
                <a:gd name="T31" fmla="*/ 270 h 275"/>
                <a:gd name="T32" fmla="*/ 0 w 184"/>
                <a:gd name="T33" fmla="*/ 270 h 275"/>
                <a:gd name="T34" fmla="*/ 0 w 184"/>
                <a:gd name="T35" fmla="*/ 172 h 275"/>
                <a:gd name="T36" fmla="*/ 16 w 184"/>
                <a:gd name="T37" fmla="*/ 172 h 275"/>
                <a:gd name="T38" fmla="*/ 37 w 184"/>
                <a:gd name="T39" fmla="*/ 224 h 275"/>
                <a:gd name="T40" fmla="*/ 63 w 184"/>
                <a:gd name="T41" fmla="*/ 248 h 275"/>
                <a:gd name="T42" fmla="*/ 97 w 184"/>
                <a:gd name="T43" fmla="*/ 257 h 275"/>
                <a:gd name="T44" fmla="*/ 132 w 184"/>
                <a:gd name="T45" fmla="*/ 242 h 275"/>
                <a:gd name="T46" fmla="*/ 144 w 184"/>
                <a:gd name="T47" fmla="*/ 210 h 275"/>
                <a:gd name="T48" fmla="*/ 120 w 184"/>
                <a:gd name="T49" fmla="*/ 170 h 275"/>
                <a:gd name="T50" fmla="*/ 70 w 184"/>
                <a:gd name="T51" fmla="*/ 149 h 275"/>
                <a:gd name="T52" fmla="*/ 28 w 184"/>
                <a:gd name="T53" fmla="*/ 128 h 275"/>
                <a:gd name="T54" fmla="*/ 3 w 184"/>
                <a:gd name="T55" fmla="*/ 72 h 275"/>
                <a:gd name="T56" fmla="*/ 26 w 184"/>
                <a:gd name="T57" fmla="*/ 19 h 275"/>
                <a:gd name="T58" fmla="*/ 80 w 184"/>
                <a:gd name="T59" fmla="*/ 0 h 275"/>
                <a:gd name="T60" fmla="*/ 134 w 184"/>
                <a:gd name="T61" fmla="*/ 16 h 275"/>
                <a:gd name="T62" fmla="*/ 143 w 184"/>
                <a:gd name="T63" fmla="*/ 19 h 275"/>
                <a:gd name="T64" fmla="*/ 151 w 184"/>
                <a:gd name="T65" fmla="*/ 6 h 275"/>
                <a:gd name="T66" fmla="*/ 168 w 184"/>
                <a:gd name="T67" fmla="*/ 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75">
                  <a:moveTo>
                    <a:pt x="168" y="6"/>
                  </a:moveTo>
                  <a:cubicBezTo>
                    <a:pt x="168" y="89"/>
                    <a:pt x="168" y="89"/>
                    <a:pt x="168" y="89"/>
                  </a:cubicBezTo>
                  <a:cubicBezTo>
                    <a:pt x="151" y="89"/>
                    <a:pt x="151" y="89"/>
                    <a:pt x="151" y="89"/>
                  </a:cubicBezTo>
                  <a:cubicBezTo>
                    <a:pt x="142" y="41"/>
                    <a:pt x="119" y="17"/>
                    <a:pt x="84" y="17"/>
                  </a:cubicBezTo>
                  <a:cubicBezTo>
                    <a:pt x="71" y="17"/>
                    <a:pt x="61" y="21"/>
                    <a:pt x="53" y="28"/>
                  </a:cubicBezTo>
                  <a:cubicBezTo>
                    <a:pt x="45" y="36"/>
                    <a:pt x="41" y="46"/>
                    <a:pt x="41" y="57"/>
                  </a:cubicBezTo>
                  <a:cubicBezTo>
                    <a:pt x="41" y="70"/>
                    <a:pt x="47" y="80"/>
                    <a:pt x="58" y="88"/>
                  </a:cubicBezTo>
                  <a:cubicBezTo>
                    <a:pt x="64" y="92"/>
                    <a:pt x="74" y="96"/>
                    <a:pt x="89" y="101"/>
                  </a:cubicBezTo>
                  <a:cubicBezTo>
                    <a:pt x="120" y="111"/>
                    <a:pt x="142" y="120"/>
                    <a:pt x="152" y="128"/>
                  </a:cubicBezTo>
                  <a:cubicBezTo>
                    <a:pt x="173" y="144"/>
                    <a:pt x="184" y="165"/>
                    <a:pt x="184" y="191"/>
                  </a:cubicBezTo>
                  <a:cubicBezTo>
                    <a:pt x="184" y="217"/>
                    <a:pt x="175" y="238"/>
                    <a:pt x="157" y="255"/>
                  </a:cubicBezTo>
                  <a:cubicBezTo>
                    <a:pt x="141" y="269"/>
                    <a:pt x="122" y="275"/>
                    <a:pt x="98" y="275"/>
                  </a:cubicBezTo>
                  <a:cubicBezTo>
                    <a:pt x="84" y="275"/>
                    <a:pt x="71" y="273"/>
                    <a:pt x="60" y="268"/>
                  </a:cubicBezTo>
                  <a:cubicBezTo>
                    <a:pt x="55" y="266"/>
                    <a:pt x="46" y="262"/>
                    <a:pt x="34" y="254"/>
                  </a:cubicBezTo>
                  <a:cubicBezTo>
                    <a:pt x="31" y="253"/>
                    <a:pt x="28" y="252"/>
                    <a:pt x="26" y="252"/>
                  </a:cubicBezTo>
                  <a:cubicBezTo>
                    <a:pt x="23" y="252"/>
                    <a:pt x="19" y="258"/>
                    <a:pt x="16" y="270"/>
                  </a:cubicBezTo>
                  <a:cubicBezTo>
                    <a:pt x="0" y="270"/>
                    <a:pt x="0" y="270"/>
                    <a:pt x="0" y="270"/>
                  </a:cubicBezTo>
                  <a:cubicBezTo>
                    <a:pt x="0" y="172"/>
                    <a:pt x="0" y="172"/>
                    <a:pt x="0" y="172"/>
                  </a:cubicBezTo>
                  <a:cubicBezTo>
                    <a:pt x="16" y="172"/>
                    <a:pt x="16" y="172"/>
                    <a:pt x="16" y="172"/>
                  </a:cubicBezTo>
                  <a:cubicBezTo>
                    <a:pt x="23" y="196"/>
                    <a:pt x="30" y="214"/>
                    <a:pt x="37" y="224"/>
                  </a:cubicBezTo>
                  <a:cubicBezTo>
                    <a:pt x="44" y="234"/>
                    <a:pt x="53" y="242"/>
                    <a:pt x="63" y="248"/>
                  </a:cubicBezTo>
                  <a:cubicBezTo>
                    <a:pt x="74" y="254"/>
                    <a:pt x="85" y="257"/>
                    <a:pt x="97" y="257"/>
                  </a:cubicBezTo>
                  <a:cubicBezTo>
                    <a:pt x="112" y="257"/>
                    <a:pt x="123" y="252"/>
                    <a:pt x="132" y="242"/>
                  </a:cubicBezTo>
                  <a:cubicBezTo>
                    <a:pt x="140" y="233"/>
                    <a:pt x="144" y="222"/>
                    <a:pt x="144" y="210"/>
                  </a:cubicBezTo>
                  <a:cubicBezTo>
                    <a:pt x="144" y="193"/>
                    <a:pt x="136" y="179"/>
                    <a:pt x="120" y="170"/>
                  </a:cubicBezTo>
                  <a:cubicBezTo>
                    <a:pt x="112" y="164"/>
                    <a:pt x="95" y="158"/>
                    <a:pt x="70" y="149"/>
                  </a:cubicBezTo>
                  <a:cubicBezTo>
                    <a:pt x="53" y="144"/>
                    <a:pt x="39" y="137"/>
                    <a:pt x="28" y="128"/>
                  </a:cubicBezTo>
                  <a:cubicBezTo>
                    <a:pt x="11" y="115"/>
                    <a:pt x="3" y="97"/>
                    <a:pt x="3" y="72"/>
                  </a:cubicBezTo>
                  <a:cubicBezTo>
                    <a:pt x="3" y="50"/>
                    <a:pt x="10" y="32"/>
                    <a:pt x="26" y="19"/>
                  </a:cubicBezTo>
                  <a:cubicBezTo>
                    <a:pt x="40" y="6"/>
                    <a:pt x="58" y="0"/>
                    <a:pt x="80" y="0"/>
                  </a:cubicBezTo>
                  <a:cubicBezTo>
                    <a:pt x="99" y="0"/>
                    <a:pt x="117" y="5"/>
                    <a:pt x="134" y="16"/>
                  </a:cubicBezTo>
                  <a:cubicBezTo>
                    <a:pt x="138" y="18"/>
                    <a:pt x="141" y="19"/>
                    <a:pt x="143" y="19"/>
                  </a:cubicBezTo>
                  <a:cubicBezTo>
                    <a:pt x="146" y="19"/>
                    <a:pt x="149" y="14"/>
                    <a:pt x="151" y="6"/>
                  </a:cubicBezTo>
                  <a:lnTo>
                    <a:pt x="16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3"/>
            <p:cNvSpPr>
              <a:spLocks/>
            </p:cNvSpPr>
            <p:nvPr userDrawn="1"/>
          </p:nvSpPr>
          <p:spPr bwMode="auto">
            <a:xfrm>
              <a:off x="2922588" y="5562600"/>
              <a:ext cx="288925" cy="606425"/>
            </a:xfrm>
            <a:custGeom>
              <a:avLst/>
              <a:gdLst>
                <a:gd name="T0" fmla="*/ 90 w 176"/>
                <a:gd name="T1" fmla="*/ 119 h 369"/>
                <a:gd name="T2" fmla="*/ 90 w 176"/>
                <a:gd name="T3" fmla="*/ 278 h 369"/>
                <a:gd name="T4" fmla="*/ 94 w 176"/>
                <a:gd name="T5" fmla="*/ 323 h 369"/>
                <a:gd name="T6" fmla="*/ 122 w 176"/>
                <a:gd name="T7" fmla="*/ 345 h 369"/>
                <a:gd name="T8" fmla="*/ 149 w 176"/>
                <a:gd name="T9" fmla="*/ 326 h 369"/>
                <a:gd name="T10" fmla="*/ 157 w 176"/>
                <a:gd name="T11" fmla="*/ 281 h 369"/>
                <a:gd name="T12" fmla="*/ 157 w 176"/>
                <a:gd name="T13" fmla="*/ 273 h 369"/>
                <a:gd name="T14" fmla="*/ 176 w 176"/>
                <a:gd name="T15" fmla="*/ 273 h 369"/>
                <a:gd name="T16" fmla="*/ 176 w 176"/>
                <a:gd name="T17" fmla="*/ 284 h 369"/>
                <a:gd name="T18" fmla="*/ 159 w 176"/>
                <a:gd name="T19" fmla="*/ 347 h 369"/>
                <a:gd name="T20" fmla="*/ 108 w 176"/>
                <a:gd name="T21" fmla="*/ 369 h 369"/>
                <a:gd name="T22" fmla="*/ 58 w 176"/>
                <a:gd name="T23" fmla="*/ 350 h 369"/>
                <a:gd name="T24" fmla="*/ 43 w 176"/>
                <a:gd name="T25" fmla="*/ 315 h 369"/>
                <a:gd name="T26" fmla="*/ 42 w 176"/>
                <a:gd name="T27" fmla="*/ 278 h 369"/>
                <a:gd name="T28" fmla="*/ 42 w 176"/>
                <a:gd name="T29" fmla="*/ 119 h 369"/>
                <a:gd name="T30" fmla="*/ 0 w 176"/>
                <a:gd name="T31" fmla="*/ 119 h 369"/>
                <a:gd name="T32" fmla="*/ 0 w 176"/>
                <a:gd name="T33" fmla="*/ 103 h 369"/>
                <a:gd name="T34" fmla="*/ 54 w 176"/>
                <a:gd name="T35" fmla="*/ 72 h 369"/>
                <a:gd name="T36" fmla="*/ 74 w 176"/>
                <a:gd name="T37" fmla="*/ 0 h 369"/>
                <a:gd name="T38" fmla="*/ 90 w 176"/>
                <a:gd name="T39" fmla="*/ 0 h 369"/>
                <a:gd name="T40" fmla="*/ 90 w 176"/>
                <a:gd name="T41" fmla="*/ 100 h 369"/>
                <a:gd name="T42" fmla="*/ 167 w 176"/>
                <a:gd name="T43" fmla="*/ 100 h 369"/>
                <a:gd name="T44" fmla="*/ 167 w 176"/>
                <a:gd name="T45" fmla="*/ 119 h 369"/>
                <a:gd name="T46" fmla="*/ 90 w 176"/>
                <a:gd name="T47" fmla="*/ 1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6" h="369">
                  <a:moveTo>
                    <a:pt x="90" y="119"/>
                  </a:moveTo>
                  <a:cubicBezTo>
                    <a:pt x="90" y="278"/>
                    <a:pt x="90" y="278"/>
                    <a:pt x="90" y="278"/>
                  </a:cubicBezTo>
                  <a:cubicBezTo>
                    <a:pt x="90" y="299"/>
                    <a:pt x="92" y="314"/>
                    <a:pt x="94" y="323"/>
                  </a:cubicBezTo>
                  <a:cubicBezTo>
                    <a:pt x="99" y="338"/>
                    <a:pt x="108" y="345"/>
                    <a:pt x="122" y="345"/>
                  </a:cubicBezTo>
                  <a:cubicBezTo>
                    <a:pt x="134" y="345"/>
                    <a:pt x="143" y="339"/>
                    <a:pt x="149" y="326"/>
                  </a:cubicBezTo>
                  <a:cubicBezTo>
                    <a:pt x="154" y="314"/>
                    <a:pt x="157" y="299"/>
                    <a:pt x="157" y="281"/>
                  </a:cubicBezTo>
                  <a:cubicBezTo>
                    <a:pt x="157" y="273"/>
                    <a:pt x="157" y="273"/>
                    <a:pt x="157" y="273"/>
                  </a:cubicBezTo>
                  <a:cubicBezTo>
                    <a:pt x="176" y="273"/>
                    <a:pt x="176" y="273"/>
                    <a:pt x="176" y="273"/>
                  </a:cubicBezTo>
                  <a:cubicBezTo>
                    <a:pt x="176" y="284"/>
                    <a:pt x="176" y="284"/>
                    <a:pt x="176" y="284"/>
                  </a:cubicBezTo>
                  <a:cubicBezTo>
                    <a:pt x="176" y="310"/>
                    <a:pt x="170" y="331"/>
                    <a:pt x="159" y="347"/>
                  </a:cubicBezTo>
                  <a:cubicBezTo>
                    <a:pt x="148" y="362"/>
                    <a:pt x="131" y="369"/>
                    <a:pt x="108" y="369"/>
                  </a:cubicBezTo>
                  <a:cubicBezTo>
                    <a:pt x="85" y="369"/>
                    <a:pt x="69" y="363"/>
                    <a:pt x="58" y="350"/>
                  </a:cubicBezTo>
                  <a:cubicBezTo>
                    <a:pt x="50" y="340"/>
                    <a:pt x="45" y="329"/>
                    <a:pt x="43" y="315"/>
                  </a:cubicBezTo>
                  <a:cubicBezTo>
                    <a:pt x="42" y="305"/>
                    <a:pt x="42" y="293"/>
                    <a:pt x="42" y="278"/>
                  </a:cubicBezTo>
                  <a:cubicBezTo>
                    <a:pt x="42" y="119"/>
                    <a:pt x="42" y="119"/>
                    <a:pt x="42" y="119"/>
                  </a:cubicBezTo>
                  <a:cubicBezTo>
                    <a:pt x="0" y="119"/>
                    <a:pt x="0" y="119"/>
                    <a:pt x="0" y="119"/>
                  </a:cubicBezTo>
                  <a:cubicBezTo>
                    <a:pt x="0" y="103"/>
                    <a:pt x="0" y="103"/>
                    <a:pt x="0" y="103"/>
                  </a:cubicBezTo>
                  <a:cubicBezTo>
                    <a:pt x="27" y="97"/>
                    <a:pt x="45" y="86"/>
                    <a:pt x="54" y="72"/>
                  </a:cubicBezTo>
                  <a:cubicBezTo>
                    <a:pt x="64" y="57"/>
                    <a:pt x="71" y="33"/>
                    <a:pt x="74" y="0"/>
                  </a:cubicBezTo>
                  <a:cubicBezTo>
                    <a:pt x="90" y="0"/>
                    <a:pt x="90" y="0"/>
                    <a:pt x="90" y="0"/>
                  </a:cubicBezTo>
                  <a:cubicBezTo>
                    <a:pt x="90" y="100"/>
                    <a:pt x="90" y="100"/>
                    <a:pt x="90" y="100"/>
                  </a:cubicBezTo>
                  <a:cubicBezTo>
                    <a:pt x="167" y="100"/>
                    <a:pt x="167" y="100"/>
                    <a:pt x="167" y="100"/>
                  </a:cubicBezTo>
                  <a:cubicBezTo>
                    <a:pt x="167" y="119"/>
                    <a:pt x="167" y="119"/>
                    <a:pt x="167" y="119"/>
                  </a:cubicBezTo>
                  <a:lnTo>
                    <a:pt x="90"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14"/>
            <p:cNvSpPr>
              <a:spLocks noEditPoints="1"/>
            </p:cNvSpPr>
            <p:nvPr userDrawn="1"/>
          </p:nvSpPr>
          <p:spPr bwMode="auto">
            <a:xfrm>
              <a:off x="3238500" y="5713413"/>
              <a:ext cx="344488" cy="460375"/>
            </a:xfrm>
            <a:custGeom>
              <a:avLst/>
              <a:gdLst>
                <a:gd name="T0" fmla="*/ 210 w 210"/>
                <a:gd name="T1" fmla="*/ 138 h 280"/>
                <a:gd name="T2" fmla="*/ 53 w 210"/>
                <a:gd name="T3" fmla="*/ 138 h 280"/>
                <a:gd name="T4" fmla="*/ 65 w 210"/>
                <a:gd name="T5" fmla="*/ 220 h 280"/>
                <a:gd name="T6" fmla="*/ 119 w 210"/>
                <a:gd name="T7" fmla="*/ 257 h 280"/>
                <a:gd name="T8" fmla="*/ 168 w 210"/>
                <a:gd name="T9" fmla="*/ 234 h 280"/>
                <a:gd name="T10" fmla="*/ 190 w 210"/>
                <a:gd name="T11" fmla="*/ 198 h 280"/>
                <a:gd name="T12" fmla="*/ 207 w 210"/>
                <a:gd name="T13" fmla="*/ 207 h 280"/>
                <a:gd name="T14" fmla="*/ 110 w 210"/>
                <a:gd name="T15" fmla="*/ 280 h 280"/>
                <a:gd name="T16" fmla="*/ 36 w 210"/>
                <a:gd name="T17" fmla="*/ 249 h 280"/>
                <a:gd name="T18" fmla="*/ 0 w 210"/>
                <a:gd name="T19" fmla="*/ 138 h 280"/>
                <a:gd name="T20" fmla="*/ 36 w 210"/>
                <a:gd name="T21" fmla="*/ 31 h 280"/>
                <a:gd name="T22" fmla="*/ 104 w 210"/>
                <a:gd name="T23" fmla="*/ 0 h 280"/>
                <a:gd name="T24" fmla="*/ 193 w 210"/>
                <a:gd name="T25" fmla="*/ 59 h 280"/>
                <a:gd name="T26" fmla="*/ 210 w 210"/>
                <a:gd name="T27" fmla="*/ 138 h 280"/>
                <a:gd name="T28" fmla="*/ 157 w 210"/>
                <a:gd name="T29" fmla="*/ 118 h 280"/>
                <a:gd name="T30" fmla="*/ 150 w 210"/>
                <a:gd name="T31" fmla="*/ 60 h 280"/>
                <a:gd name="T32" fmla="*/ 107 w 210"/>
                <a:gd name="T33" fmla="*/ 20 h 280"/>
                <a:gd name="T34" fmla="*/ 60 w 210"/>
                <a:gd name="T35" fmla="*/ 69 h 280"/>
                <a:gd name="T36" fmla="*/ 54 w 210"/>
                <a:gd name="T37" fmla="*/ 118 h 280"/>
                <a:gd name="T38" fmla="*/ 157 w 210"/>
                <a:gd name="T39"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80">
                  <a:moveTo>
                    <a:pt x="210" y="138"/>
                  </a:moveTo>
                  <a:cubicBezTo>
                    <a:pt x="53" y="138"/>
                    <a:pt x="53" y="138"/>
                    <a:pt x="53" y="138"/>
                  </a:cubicBezTo>
                  <a:cubicBezTo>
                    <a:pt x="54" y="175"/>
                    <a:pt x="58" y="202"/>
                    <a:pt x="65" y="220"/>
                  </a:cubicBezTo>
                  <a:cubicBezTo>
                    <a:pt x="75" y="245"/>
                    <a:pt x="93" y="257"/>
                    <a:pt x="119" y="257"/>
                  </a:cubicBezTo>
                  <a:cubicBezTo>
                    <a:pt x="139" y="257"/>
                    <a:pt x="155" y="249"/>
                    <a:pt x="168" y="234"/>
                  </a:cubicBezTo>
                  <a:cubicBezTo>
                    <a:pt x="176" y="225"/>
                    <a:pt x="183" y="213"/>
                    <a:pt x="190" y="198"/>
                  </a:cubicBezTo>
                  <a:cubicBezTo>
                    <a:pt x="207" y="207"/>
                    <a:pt x="207" y="207"/>
                    <a:pt x="207" y="207"/>
                  </a:cubicBezTo>
                  <a:cubicBezTo>
                    <a:pt x="183" y="256"/>
                    <a:pt x="151" y="280"/>
                    <a:pt x="110" y="280"/>
                  </a:cubicBezTo>
                  <a:cubicBezTo>
                    <a:pt x="80" y="280"/>
                    <a:pt x="55" y="269"/>
                    <a:pt x="36" y="249"/>
                  </a:cubicBezTo>
                  <a:cubicBezTo>
                    <a:pt x="12" y="223"/>
                    <a:pt x="0" y="186"/>
                    <a:pt x="0" y="138"/>
                  </a:cubicBezTo>
                  <a:cubicBezTo>
                    <a:pt x="0" y="94"/>
                    <a:pt x="12" y="58"/>
                    <a:pt x="36" y="31"/>
                  </a:cubicBezTo>
                  <a:cubicBezTo>
                    <a:pt x="55" y="10"/>
                    <a:pt x="77" y="0"/>
                    <a:pt x="104" y="0"/>
                  </a:cubicBezTo>
                  <a:cubicBezTo>
                    <a:pt x="143" y="0"/>
                    <a:pt x="173" y="19"/>
                    <a:pt x="193" y="59"/>
                  </a:cubicBezTo>
                  <a:cubicBezTo>
                    <a:pt x="203" y="80"/>
                    <a:pt x="209" y="106"/>
                    <a:pt x="210" y="138"/>
                  </a:cubicBezTo>
                  <a:close/>
                  <a:moveTo>
                    <a:pt x="157" y="118"/>
                  </a:moveTo>
                  <a:cubicBezTo>
                    <a:pt x="157" y="94"/>
                    <a:pt x="155" y="75"/>
                    <a:pt x="150" y="60"/>
                  </a:cubicBezTo>
                  <a:cubicBezTo>
                    <a:pt x="141" y="33"/>
                    <a:pt x="126" y="20"/>
                    <a:pt x="107" y="20"/>
                  </a:cubicBezTo>
                  <a:cubicBezTo>
                    <a:pt x="85" y="20"/>
                    <a:pt x="69" y="36"/>
                    <a:pt x="60" y="69"/>
                  </a:cubicBezTo>
                  <a:cubicBezTo>
                    <a:pt x="56" y="82"/>
                    <a:pt x="54" y="99"/>
                    <a:pt x="54" y="118"/>
                  </a:cubicBezTo>
                  <a:lnTo>
                    <a:pt x="157"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p:cNvSpPr>
              <a:spLocks/>
            </p:cNvSpPr>
            <p:nvPr userDrawn="1"/>
          </p:nvSpPr>
          <p:spPr bwMode="auto">
            <a:xfrm>
              <a:off x="3616325" y="5716588"/>
              <a:ext cx="649288" cy="442913"/>
            </a:xfrm>
            <a:custGeom>
              <a:avLst/>
              <a:gdLst>
                <a:gd name="T0" fmla="*/ 312 w 396"/>
                <a:gd name="T1" fmla="*/ 270 h 270"/>
                <a:gd name="T2" fmla="*/ 312 w 396"/>
                <a:gd name="T3" fmla="*/ 108 h 270"/>
                <a:gd name="T4" fmla="*/ 305 w 396"/>
                <a:gd name="T5" fmla="*/ 44 h 270"/>
                <a:gd name="T6" fmla="*/ 275 w 396"/>
                <a:gd name="T7" fmla="*/ 25 h 270"/>
                <a:gd name="T8" fmla="*/ 236 w 396"/>
                <a:gd name="T9" fmla="*/ 52 h 270"/>
                <a:gd name="T10" fmla="*/ 225 w 396"/>
                <a:gd name="T11" fmla="*/ 84 h 270"/>
                <a:gd name="T12" fmla="*/ 223 w 396"/>
                <a:gd name="T13" fmla="*/ 134 h 270"/>
                <a:gd name="T14" fmla="*/ 223 w 396"/>
                <a:gd name="T15" fmla="*/ 205 h 270"/>
                <a:gd name="T16" fmla="*/ 230 w 396"/>
                <a:gd name="T17" fmla="*/ 245 h 270"/>
                <a:gd name="T18" fmla="*/ 252 w 396"/>
                <a:gd name="T19" fmla="*/ 252 h 270"/>
                <a:gd name="T20" fmla="*/ 261 w 396"/>
                <a:gd name="T21" fmla="*/ 252 h 270"/>
                <a:gd name="T22" fmla="*/ 261 w 396"/>
                <a:gd name="T23" fmla="*/ 270 h 270"/>
                <a:gd name="T24" fmla="*/ 175 w 396"/>
                <a:gd name="T25" fmla="*/ 270 h 270"/>
                <a:gd name="T26" fmla="*/ 175 w 396"/>
                <a:gd name="T27" fmla="*/ 117 h 270"/>
                <a:gd name="T28" fmla="*/ 173 w 396"/>
                <a:gd name="T29" fmla="*/ 66 h 270"/>
                <a:gd name="T30" fmla="*/ 137 w 396"/>
                <a:gd name="T31" fmla="*/ 25 h 270"/>
                <a:gd name="T32" fmla="*/ 99 w 396"/>
                <a:gd name="T33" fmla="*/ 53 h 270"/>
                <a:gd name="T34" fmla="*/ 89 w 396"/>
                <a:gd name="T35" fmla="*/ 81 h 270"/>
                <a:gd name="T36" fmla="*/ 86 w 396"/>
                <a:gd name="T37" fmla="*/ 134 h 270"/>
                <a:gd name="T38" fmla="*/ 86 w 396"/>
                <a:gd name="T39" fmla="*/ 205 h 270"/>
                <a:gd name="T40" fmla="*/ 93 w 396"/>
                <a:gd name="T41" fmla="*/ 245 h 270"/>
                <a:gd name="T42" fmla="*/ 116 w 396"/>
                <a:gd name="T43" fmla="*/ 252 h 270"/>
                <a:gd name="T44" fmla="*/ 124 w 396"/>
                <a:gd name="T45" fmla="*/ 252 h 270"/>
                <a:gd name="T46" fmla="*/ 124 w 396"/>
                <a:gd name="T47" fmla="*/ 270 h 270"/>
                <a:gd name="T48" fmla="*/ 0 w 396"/>
                <a:gd name="T49" fmla="*/ 270 h 270"/>
                <a:gd name="T50" fmla="*/ 0 w 396"/>
                <a:gd name="T51" fmla="*/ 252 h 270"/>
                <a:gd name="T52" fmla="*/ 9 w 396"/>
                <a:gd name="T53" fmla="*/ 252 h 270"/>
                <a:gd name="T54" fmla="*/ 31 w 396"/>
                <a:gd name="T55" fmla="*/ 245 h 270"/>
                <a:gd name="T56" fmla="*/ 38 w 396"/>
                <a:gd name="T57" fmla="*/ 205 h 270"/>
                <a:gd name="T58" fmla="*/ 38 w 396"/>
                <a:gd name="T59" fmla="*/ 69 h 270"/>
                <a:gd name="T60" fmla="*/ 31 w 396"/>
                <a:gd name="T61" fmla="*/ 30 h 270"/>
                <a:gd name="T62" fmla="*/ 9 w 396"/>
                <a:gd name="T63" fmla="*/ 24 h 270"/>
                <a:gd name="T64" fmla="*/ 2 w 396"/>
                <a:gd name="T65" fmla="*/ 24 h 270"/>
                <a:gd name="T66" fmla="*/ 2 w 396"/>
                <a:gd name="T67" fmla="*/ 6 h 270"/>
                <a:gd name="T68" fmla="*/ 83 w 396"/>
                <a:gd name="T69" fmla="*/ 2 h 270"/>
                <a:gd name="T70" fmla="*/ 83 w 396"/>
                <a:gd name="T71" fmla="*/ 49 h 270"/>
                <a:gd name="T72" fmla="*/ 99 w 396"/>
                <a:gd name="T73" fmla="*/ 23 h 270"/>
                <a:gd name="T74" fmla="*/ 150 w 396"/>
                <a:gd name="T75" fmla="*/ 0 h 270"/>
                <a:gd name="T76" fmla="*/ 217 w 396"/>
                <a:gd name="T77" fmla="*/ 52 h 270"/>
                <a:gd name="T78" fmla="*/ 288 w 396"/>
                <a:gd name="T79" fmla="*/ 0 h 270"/>
                <a:gd name="T80" fmla="*/ 346 w 396"/>
                <a:gd name="T81" fmla="*/ 30 h 270"/>
                <a:gd name="T82" fmla="*/ 358 w 396"/>
                <a:gd name="T83" fmla="*/ 66 h 270"/>
                <a:gd name="T84" fmla="*/ 360 w 396"/>
                <a:gd name="T85" fmla="*/ 102 h 270"/>
                <a:gd name="T86" fmla="*/ 360 w 396"/>
                <a:gd name="T87" fmla="*/ 205 h 270"/>
                <a:gd name="T88" fmla="*/ 367 w 396"/>
                <a:gd name="T89" fmla="*/ 245 h 270"/>
                <a:gd name="T90" fmla="*/ 389 w 396"/>
                <a:gd name="T91" fmla="*/ 252 h 270"/>
                <a:gd name="T92" fmla="*/ 396 w 396"/>
                <a:gd name="T93" fmla="*/ 252 h 270"/>
                <a:gd name="T94" fmla="*/ 396 w 396"/>
                <a:gd name="T95" fmla="*/ 270 h 270"/>
                <a:gd name="T96" fmla="*/ 312 w 396"/>
                <a:gd name="T97"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6" h="270">
                  <a:moveTo>
                    <a:pt x="312" y="270"/>
                  </a:moveTo>
                  <a:cubicBezTo>
                    <a:pt x="312" y="108"/>
                    <a:pt x="312" y="108"/>
                    <a:pt x="312" y="108"/>
                  </a:cubicBezTo>
                  <a:cubicBezTo>
                    <a:pt x="312" y="75"/>
                    <a:pt x="309" y="54"/>
                    <a:pt x="305" y="44"/>
                  </a:cubicBezTo>
                  <a:cubicBezTo>
                    <a:pt x="298" y="31"/>
                    <a:pt x="288" y="25"/>
                    <a:pt x="275" y="25"/>
                  </a:cubicBezTo>
                  <a:cubicBezTo>
                    <a:pt x="259" y="25"/>
                    <a:pt x="246" y="34"/>
                    <a:pt x="236" y="52"/>
                  </a:cubicBezTo>
                  <a:cubicBezTo>
                    <a:pt x="231" y="62"/>
                    <a:pt x="227" y="73"/>
                    <a:pt x="225" y="84"/>
                  </a:cubicBezTo>
                  <a:cubicBezTo>
                    <a:pt x="224" y="93"/>
                    <a:pt x="223" y="109"/>
                    <a:pt x="223" y="134"/>
                  </a:cubicBezTo>
                  <a:cubicBezTo>
                    <a:pt x="223" y="205"/>
                    <a:pt x="223" y="205"/>
                    <a:pt x="223" y="205"/>
                  </a:cubicBezTo>
                  <a:cubicBezTo>
                    <a:pt x="223" y="226"/>
                    <a:pt x="226" y="240"/>
                    <a:pt x="230" y="245"/>
                  </a:cubicBezTo>
                  <a:cubicBezTo>
                    <a:pt x="234" y="250"/>
                    <a:pt x="242" y="252"/>
                    <a:pt x="252" y="252"/>
                  </a:cubicBezTo>
                  <a:cubicBezTo>
                    <a:pt x="261" y="252"/>
                    <a:pt x="261" y="252"/>
                    <a:pt x="261" y="252"/>
                  </a:cubicBezTo>
                  <a:cubicBezTo>
                    <a:pt x="261" y="270"/>
                    <a:pt x="261" y="270"/>
                    <a:pt x="261" y="270"/>
                  </a:cubicBezTo>
                  <a:cubicBezTo>
                    <a:pt x="175" y="270"/>
                    <a:pt x="175" y="270"/>
                    <a:pt x="175" y="270"/>
                  </a:cubicBezTo>
                  <a:cubicBezTo>
                    <a:pt x="175" y="117"/>
                    <a:pt x="175" y="117"/>
                    <a:pt x="175" y="117"/>
                  </a:cubicBezTo>
                  <a:cubicBezTo>
                    <a:pt x="175" y="91"/>
                    <a:pt x="174" y="74"/>
                    <a:pt x="173" y="66"/>
                  </a:cubicBezTo>
                  <a:cubicBezTo>
                    <a:pt x="169" y="39"/>
                    <a:pt x="157" y="25"/>
                    <a:pt x="137" y="25"/>
                  </a:cubicBezTo>
                  <a:cubicBezTo>
                    <a:pt x="121" y="25"/>
                    <a:pt x="108" y="34"/>
                    <a:pt x="99" y="53"/>
                  </a:cubicBezTo>
                  <a:cubicBezTo>
                    <a:pt x="94" y="62"/>
                    <a:pt x="91" y="71"/>
                    <a:pt x="89" y="81"/>
                  </a:cubicBezTo>
                  <a:cubicBezTo>
                    <a:pt x="87" y="91"/>
                    <a:pt x="86" y="108"/>
                    <a:pt x="86" y="134"/>
                  </a:cubicBezTo>
                  <a:cubicBezTo>
                    <a:pt x="86" y="205"/>
                    <a:pt x="86" y="205"/>
                    <a:pt x="86" y="205"/>
                  </a:cubicBezTo>
                  <a:cubicBezTo>
                    <a:pt x="86" y="227"/>
                    <a:pt x="89" y="240"/>
                    <a:pt x="93" y="245"/>
                  </a:cubicBezTo>
                  <a:cubicBezTo>
                    <a:pt x="97" y="250"/>
                    <a:pt x="105" y="252"/>
                    <a:pt x="116" y="252"/>
                  </a:cubicBezTo>
                  <a:cubicBezTo>
                    <a:pt x="124" y="252"/>
                    <a:pt x="124" y="252"/>
                    <a:pt x="124" y="252"/>
                  </a:cubicBezTo>
                  <a:cubicBezTo>
                    <a:pt x="124" y="270"/>
                    <a:pt x="124" y="270"/>
                    <a:pt x="124" y="270"/>
                  </a:cubicBezTo>
                  <a:cubicBezTo>
                    <a:pt x="0" y="270"/>
                    <a:pt x="0" y="270"/>
                    <a:pt x="0" y="270"/>
                  </a:cubicBezTo>
                  <a:cubicBezTo>
                    <a:pt x="0" y="252"/>
                    <a:pt x="0" y="252"/>
                    <a:pt x="0" y="252"/>
                  </a:cubicBezTo>
                  <a:cubicBezTo>
                    <a:pt x="9" y="252"/>
                    <a:pt x="9" y="252"/>
                    <a:pt x="9" y="252"/>
                  </a:cubicBezTo>
                  <a:cubicBezTo>
                    <a:pt x="19" y="252"/>
                    <a:pt x="27" y="250"/>
                    <a:pt x="31" y="245"/>
                  </a:cubicBezTo>
                  <a:cubicBezTo>
                    <a:pt x="36" y="240"/>
                    <a:pt x="38" y="226"/>
                    <a:pt x="38" y="205"/>
                  </a:cubicBezTo>
                  <a:cubicBezTo>
                    <a:pt x="38" y="69"/>
                    <a:pt x="38" y="69"/>
                    <a:pt x="38" y="69"/>
                  </a:cubicBezTo>
                  <a:cubicBezTo>
                    <a:pt x="38" y="49"/>
                    <a:pt x="36" y="36"/>
                    <a:pt x="31" y="30"/>
                  </a:cubicBezTo>
                  <a:cubicBezTo>
                    <a:pt x="27" y="26"/>
                    <a:pt x="19" y="24"/>
                    <a:pt x="9" y="24"/>
                  </a:cubicBezTo>
                  <a:cubicBezTo>
                    <a:pt x="2" y="24"/>
                    <a:pt x="2" y="24"/>
                    <a:pt x="2" y="24"/>
                  </a:cubicBezTo>
                  <a:cubicBezTo>
                    <a:pt x="2" y="6"/>
                    <a:pt x="2" y="6"/>
                    <a:pt x="2" y="6"/>
                  </a:cubicBezTo>
                  <a:cubicBezTo>
                    <a:pt x="83" y="2"/>
                    <a:pt x="83" y="2"/>
                    <a:pt x="83" y="2"/>
                  </a:cubicBezTo>
                  <a:cubicBezTo>
                    <a:pt x="83" y="49"/>
                    <a:pt x="83" y="49"/>
                    <a:pt x="83" y="49"/>
                  </a:cubicBezTo>
                  <a:cubicBezTo>
                    <a:pt x="87" y="39"/>
                    <a:pt x="92" y="31"/>
                    <a:pt x="99" y="23"/>
                  </a:cubicBezTo>
                  <a:cubicBezTo>
                    <a:pt x="113" y="8"/>
                    <a:pt x="130" y="0"/>
                    <a:pt x="150" y="0"/>
                  </a:cubicBezTo>
                  <a:cubicBezTo>
                    <a:pt x="181" y="0"/>
                    <a:pt x="203" y="18"/>
                    <a:pt x="217" y="52"/>
                  </a:cubicBezTo>
                  <a:cubicBezTo>
                    <a:pt x="234" y="18"/>
                    <a:pt x="257" y="0"/>
                    <a:pt x="288" y="0"/>
                  </a:cubicBezTo>
                  <a:cubicBezTo>
                    <a:pt x="314" y="0"/>
                    <a:pt x="333" y="10"/>
                    <a:pt x="346" y="30"/>
                  </a:cubicBezTo>
                  <a:cubicBezTo>
                    <a:pt x="353" y="41"/>
                    <a:pt x="357" y="53"/>
                    <a:pt x="358" y="66"/>
                  </a:cubicBezTo>
                  <a:cubicBezTo>
                    <a:pt x="359" y="77"/>
                    <a:pt x="360" y="89"/>
                    <a:pt x="360" y="102"/>
                  </a:cubicBezTo>
                  <a:cubicBezTo>
                    <a:pt x="360" y="205"/>
                    <a:pt x="360" y="205"/>
                    <a:pt x="360" y="205"/>
                  </a:cubicBezTo>
                  <a:cubicBezTo>
                    <a:pt x="360" y="226"/>
                    <a:pt x="362" y="240"/>
                    <a:pt x="367" y="245"/>
                  </a:cubicBezTo>
                  <a:cubicBezTo>
                    <a:pt x="371" y="250"/>
                    <a:pt x="378" y="252"/>
                    <a:pt x="389" y="252"/>
                  </a:cubicBezTo>
                  <a:cubicBezTo>
                    <a:pt x="396" y="252"/>
                    <a:pt x="396" y="252"/>
                    <a:pt x="396" y="252"/>
                  </a:cubicBezTo>
                  <a:cubicBezTo>
                    <a:pt x="396" y="270"/>
                    <a:pt x="396" y="270"/>
                    <a:pt x="396" y="270"/>
                  </a:cubicBezTo>
                  <a:lnTo>
                    <a:pt x="312" y="2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p:cNvSpPr>
              <a:spLocks/>
            </p:cNvSpPr>
            <p:nvPr userDrawn="1"/>
          </p:nvSpPr>
          <p:spPr bwMode="auto">
            <a:xfrm>
              <a:off x="4308475" y="5716588"/>
              <a:ext cx="301625" cy="452438"/>
            </a:xfrm>
            <a:custGeom>
              <a:avLst/>
              <a:gdLst>
                <a:gd name="T0" fmla="*/ 168 w 184"/>
                <a:gd name="T1" fmla="*/ 6 h 275"/>
                <a:gd name="T2" fmla="*/ 168 w 184"/>
                <a:gd name="T3" fmla="*/ 89 h 275"/>
                <a:gd name="T4" fmla="*/ 151 w 184"/>
                <a:gd name="T5" fmla="*/ 89 h 275"/>
                <a:gd name="T6" fmla="*/ 84 w 184"/>
                <a:gd name="T7" fmla="*/ 17 h 275"/>
                <a:gd name="T8" fmla="*/ 53 w 184"/>
                <a:gd name="T9" fmla="*/ 28 h 275"/>
                <a:gd name="T10" fmla="*/ 41 w 184"/>
                <a:gd name="T11" fmla="*/ 57 h 275"/>
                <a:gd name="T12" fmla="*/ 58 w 184"/>
                <a:gd name="T13" fmla="*/ 88 h 275"/>
                <a:gd name="T14" fmla="*/ 88 w 184"/>
                <a:gd name="T15" fmla="*/ 101 h 275"/>
                <a:gd name="T16" fmla="*/ 152 w 184"/>
                <a:gd name="T17" fmla="*/ 128 h 275"/>
                <a:gd name="T18" fmla="*/ 184 w 184"/>
                <a:gd name="T19" fmla="*/ 191 h 275"/>
                <a:gd name="T20" fmla="*/ 156 w 184"/>
                <a:gd name="T21" fmla="*/ 255 h 275"/>
                <a:gd name="T22" fmla="*/ 98 w 184"/>
                <a:gd name="T23" fmla="*/ 275 h 275"/>
                <a:gd name="T24" fmla="*/ 59 w 184"/>
                <a:gd name="T25" fmla="*/ 268 h 275"/>
                <a:gd name="T26" fmla="*/ 33 w 184"/>
                <a:gd name="T27" fmla="*/ 254 h 275"/>
                <a:gd name="T28" fmla="*/ 26 w 184"/>
                <a:gd name="T29" fmla="*/ 252 h 275"/>
                <a:gd name="T30" fmla="*/ 16 w 184"/>
                <a:gd name="T31" fmla="*/ 270 h 275"/>
                <a:gd name="T32" fmla="*/ 0 w 184"/>
                <a:gd name="T33" fmla="*/ 270 h 275"/>
                <a:gd name="T34" fmla="*/ 0 w 184"/>
                <a:gd name="T35" fmla="*/ 172 h 275"/>
                <a:gd name="T36" fmla="*/ 16 w 184"/>
                <a:gd name="T37" fmla="*/ 172 h 275"/>
                <a:gd name="T38" fmla="*/ 37 w 184"/>
                <a:gd name="T39" fmla="*/ 224 h 275"/>
                <a:gd name="T40" fmla="*/ 63 w 184"/>
                <a:gd name="T41" fmla="*/ 248 h 275"/>
                <a:gd name="T42" fmla="*/ 97 w 184"/>
                <a:gd name="T43" fmla="*/ 257 h 275"/>
                <a:gd name="T44" fmla="*/ 131 w 184"/>
                <a:gd name="T45" fmla="*/ 242 h 275"/>
                <a:gd name="T46" fmla="*/ 144 w 184"/>
                <a:gd name="T47" fmla="*/ 210 h 275"/>
                <a:gd name="T48" fmla="*/ 120 w 184"/>
                <a:gd name="T49" fmla="*/ 170 h 275"/>
                <a:gd name="T50" fmla="*/ 69 w 184"/>
                <a:gd name="T51" fmla="*/ 149 h 275"/>
                <a:gd name="T52" fmla="*/ 28 w 184"/>
                <a:gd name="T53" fmla="*/ 128 h 275"/>
                <a:gd name="T54" fmla="*/ 2 w 184"/>
                <a:gd name="T55" fmla="*/ 72 h 275"/>
                <a:gd name="T56" fmla="*/ 26 w 184"/>
                <a:gd name="T57" fmla="*/ 19 h 275"/>
                <a:gd name="T58" fmla="*/ 80 w 184"/>
                <a:gd name="T59" fmla="*/ 0 h 275"/>
                <a:gd name="T60" fmla="*/ 134 w 184"/>
                <a:gd name="T61" fmla="*/ 16 h 275"/>
                <a:gd name="T62" fmla="*/ 142 w 184"/>
                <a:gd name="T63" fmla="*/ 19 h 275"/>
                <a:gd name="T64" fmla="*/ 151 w 184"/>
                <a:gd name="T65" fmla="*/ 6 h 275"/>
                <a:gd name="T66" fmla="*/ 168 w 184"/>
                <a:gd name="T67" fmla="*/ 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75">
                  <a:moveTo>
                    <a:pt x="168" y="6"/>
                  </a:moveTo>
                  <a:cubicBezTo>
                    <a:pt x="168" y="89"/>
                    <a:pt x="168" y="89"/>
                    <a:pt x="168" y="89"/>
                  </a:cubicBezTo>
                  <a:cubicBezTo>
                    <a:pt x="151" y="89"/>
                    <a:pt x="151" y="89"/>
                    <a:pt x="151" y="89"/>
                  </a:cubicBezTo>
                  <a:cubicBezTo>
                    <a:pt x="141" y="41"/>
                    <a:pt x="119" y="17"/>
                    <a:pt x="84" y="17"/>
                  </a:cubicBezTo>
                  <a:cubicBezTo>
                    <a:pt x="71" y="17"/>
                    <a:pt x="61" y="21"/>
                    <a:pt x="53" y="28"/>
                  </a:cubicBezTo>
                  <a:cubicBezTo>
                    <a:pt x="45" y="36"/>
                    <a:pt x="41" y="46"/>
                    <a:pt x="41" y="57"/>
                  </a:cubicBezTo>
                  <a:cubicBezTo>
                    <a:pt x="41" y="70"/>
                    <a:pt x="46" y="80"/>
                    <a:pt x="58" y="88"/>
                  </a:cubicBezTo>
                  <a:cubicBezTo>
                    <a:pt x="63" y="92"/>
                    <a:pt x="74" y="96"/>
                    <a:pt x="88" y="101"/>
                  </a:cubicBezTo>
                  <a:cubicBezTo>
                    <a:pt x="120" y="111"/>
                    <a:pt x="142" y="120"/>
                    <a:pt x="152" y="128"/>
                  </a:cubicBezTo>
                  <a:cubicBezTo>
                    <a:pt x="173" y="144"/>
                    <a:pt x="184" y="165"/>
                    <a:pt x="184" y="191"/>
                  </a:cubicBezTo>
                  <a:cubicBezTo>
                    <a:pt x="184" y="217"/>
                    <a:pt x="175" y="238"/>
                    <a:pt x="156" y="255"/>
                  </a:cubicBezTo>
                  <a:cubicBezTo>
                    <a:pt x="141" y="269"/>
                    <a:pt x="121" y="275"/>
                    <a:pt x="98" y="275"/>
                  </a:cubicBezTo>
                  <a:cubicBezTo>
                    <a:pt x="84" y="275"/>
                    <a:pt x="71" y="273"/>
                    <a:pt x="59" y="268"/>
                  </a:cubicBezTo>
                  <a:cubicBezTo>
                    <a:pt x="55" y="266"/>
                    <a:pt x="46" y="262"/>
                    <a:pt x="33" y="254"/>
                  </a:cubicBezTo>
                  <a:cubicBezTo>
                    <a:pt x="31" y="253"/>
                    <a:pt x="28" y="252"/>
                    <a:pt x="26" y="252"/>
                  </a:cubicBezTo>
                  <a:cubicBezTo>
                    <a:pt x="23" y="252"/>
                    <a:pt x="19" y="258"/>
                    <a:pt x="16" y="270"/>
                  </a:cubicBezTo>
                  <a:cubicBezTo>
                    <a:pt x="0" y="270"/>
                    <a:pt x="0" y="270"/>
                    <a:pt x="0" y="270"/>
                  </a:cubicBezTo>
                  <a:cubicBezTo>
                    <a:pt x="0" y="172"/>
                    <a:pt x="0" y="172"/>
                    <a:pt x="0" y="172"/>
                  </a:cubicBezTo>
                  <a:cubicBezTo>
                    <a:pt x="16" y="172"/>
                    <a:pt x="16" y="172"/>
                    <a:pt x="16" y="172"/>
                  </a:cubicBezTo>
                  <a:cubicBezTo>
                    <a:pt x="22" y="196"/>
                    <a:pt x="29" y="214"/>
                    <a:pt x="37" y="224"/>
                  </a:cubicBezTo>
                  <a:cubicBezTo>
                    <a:pt x="44" y="234"/>
                    <a:pt x="52" y="242"/>
                    <a:pt x="63" y="248"/>
                  </a:cubicBezTo>
                  <a:cubicBezTo>
                    <a:pt x="74" y="254"/>
                    <a:pt x="85" y="257"/>
                    <a:pt x="97" y="257"/>
                  </a:cubicBezTo>
                  <a:cubicBezTo>
                    <a:pt x="112" y="257"/>
                    <a:pt x="123" y="252"/>
                    <a:pt x="131" y="242"/>
                  </a:cubicBezTo>
                  <a:cubicBezTo>
                    <a:pt x="139" y="233"/>
                    <a:pt x="144" y="222"/>
                    <a:pt x="144" y="210"/>
                  </a:cubicBezTo>
                  <a:cubicBezTo>
                    <a:pt x="144" y="193"/>
                    <a:pt x="136" y="179"/>
                    <a:pt x="120" y="170"/>
                  </a:cubicBezTo>
                  <a:cubicBezTo>
                    <a:pt x="112" y="164"/>
                    <a:pt x="95" y="158"/>
                    <a:pt x="69" y="149"/>
                  </a:cubicBezTo>
                  <a:cubicBezTo>
                    <a:pt x="52" y="144"/>
                    <a:pt x="39" y="137"/>
                    <a:pt x="28" y="128"/>
                  </a:cubicBezTo>
                  <a:cubicBezTo>
                    <a:pt x="11" y="115"/>
                    <a:pt x="2" y="97"/>
                    <a:pt x="2" y="72"/>
                  </a:cubicBezTo>
                  <a:cubicBezTo>
                    <a:pt x="2" y="50"/>
                    <a:pt x="10" y="32"/>
                    <a:pt x="26" y="19"/>
                  </a:cubicBezTo>
                  <a:cubicBezTo>
                    <a:pt x="40" y="6"/>
                    <a:pt x="58" y="0"/>
                    <a:pt x="80" y="0"/>
                  </a:cubicBezTo>
                  <a:cubicBezTo>
                    <a:pt x="99" y="0"/>
                    <a:pt x="117" y="5"/>
                    <a:pt x="134" y="16"/>
                  </a:cubicBezTo>
                  <a:cubicBezTo>
                    <a:pt x="138" y="18"/>
                    <a:pt x="140" y="19"/>
                    <a:pt x="142" y="19"/>
                  </a:cubicBezTo>
                  <a:cubicBezTo>
                    <a:pt x="146" y="19"/>
                    <a:pt x="149" y="14"/>
                    <a:pt x="151" y="6"/>
                  </a:cubicBezTo>
                  <a:lnTo>
                    <a:pt x="16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p:cNvSpPr>
              <a:spLocks/>
            </p:cNvSpPr>
            <p:nvPr userDrawn="1"/>
          </p:nvSpPr>
          <p:spPr bwMode="auto">
            <a:xfrm>
              <a:off x="4710113" y="5807075"/>
              <a:ext cx="131763" cy="133350"/>
            </a:xfrm>
            <a:custGeom>
              <a:avLst/>
              <a:gdLst>
                <a:gd name="T0" fmla="*/ 0 w 83"/>
                <a:gd name="T1" fmla="*/ 84 h 84"/>
                <a:gd name="T2" fmla="*/ 0 w 83"/>
                <a:gd name="T3" fmla="*/ 0 h 84"/>
                <a:gd name="T4" fmla="*/ 46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6"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860364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vertical right transpar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elplatzhalter 1"/>
          <p:cNvSpPr>
            <a:spLocks noGrp="1"/>
          </p:cNvSpPr>
          <p:nvPr>
            <p:ph type="ctrTitle" hasCustomPrompt="1"/>
          </p:nvPr>
        </p:nvSpPr>
        <p:spPr bwMode="black">
          <a:xfrm>
            <a:off x="6084889" y="323850"/>
            <a:ext cx="5113337" cy="2492990"/>
          </a:xfrm>
          <a:noFill/>
        </p:spPr>
        <p:txBody>
          <a:bodyPr wrap="square" lIns="0" tIns="0">
            <a:noAutofit/>
          </a:bodyPr>
          <a:lstStyle>
            <a:lvl1pPr>
              <a:defRPr sz="6000" smtClean="0">
                <a:solidFill>
                  <a:schemeClr val="bg1"/>
                </a:solidFill>
                <a:latin typeface="TeleGrotesk Headline Ultra" pitchFamily="2" charset="0"/>
              </a:defRPr>
            </a:lvl1pPr>
          </a:lstStyle>
          <a:p>
            <a:r>
              <a:rPr lang="en-US" dirty="0" smtClean="0"/>
              <a:t>Headline Ultra</a:t>
            </a:r>
            <a:br>
              <a:rPr lang="en-US" dirty="0" smtClean="0"/>
            </a:br>
            <a:r>
              <a:rPr lang="en-US" dirty="0" smtClean="0"/>
              <a:t>(60) 75 90 PT</a:t>
            </a:r>
          </a:p>
        </p:txBody>
      </p:sp>
      <p:sp>
        <p:nvSpPr>
          <p:cNvPr id="3" name="Textplatzhalter 2"/>
          <p:cNvSpPr>
            <a:spLocks noGrp="1"/>
          </p:cNvSpPr>
          <p:nvPr>
            <p:ph type="body" sz="quarter" idx="11" hasCustomPrompt="1"/>
          </p:nvPr>
        </p:nvSpPr>
        <p:spPr bwMode="black">
          <a:xfrm>
            <a:off x="6084888" y="3240088"/>
            <a:ext cx="5113338" cy="1008062"/>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en-US" noProof="0" dirty="0" smtClean="0"/>
              <a:t>Sub-heading </a:t>
            </a:r>
            <a:r>
              <a:rPr lang="en-US" dirty="0" smtClean="0"/>
              <a:t>Tele-</a:t>
            </a:r>
            <a:r>
              <a:rPr lang="en-US" dirty="0" err="1" smtClean="0"/>
              <a:t>GroteskFet</a:t>
            </a:r>
            <a:r>
              <a:rPr lang="en-US" dirty="0" smtClean="0"/>
              <a:t> 18 </a:t>
            </a:r>
            <a:r>
              <a:rPr lang="en-US" dirty="0" err="1" smtClean="0"/>
              <a:t>pt</a:t>
            </a:r>
            <a:endParaRPr lang="en-US" dirty="0" smtClean="0"/>
          </a:p>
        </p:txBody>
      </p:sp>
      <p:grpSp>
        <p:nvGrpSpPr>
          <p:cNvPr id="5" name="Gruppieren 4"/>
          <p:cNvGrpSpPr/>
          <p:nvPr userDrawn="1"/>
        </p:nvGrpSpPr>
        <p:grpSpPr>
          <a:xfrm>
            <a:off x="6086475" y="5508625"/>
            <a:ext cx="4518026" cy="820738"/>
            <a:chOff x="6086475" y="5508625"/>
            <a:chExt cx="4518026" cy="820738"/>
          </a:xfrm>
          <a:solidFill>
            <a:schemeClr val="bg1"/>
          </a:solidFill>
        </p:grpSpPr>
        <p:sp>
          <p:nvSpPr>
            <p:cNvPr id="7" name="Freeform 40"/>
            <p:cNvSpPr>
              <a:spLocks/>
            </p:cNvSpPr>
            <p:nvPr userDrawn="1"/>
          </p:nvSpPr>
          <p:spPr bwMode="auto">
            <a:xfrm>
              <a:off x="6086475" y="5807075"/>
              <a:ext cx="131763" cy="133350"/>
            </a:xfrm>
            <a:custGeom>
              <a:avLst/>
              <a:gdLst>
                <a:gd name="T0" fmla="*/ 0 w 83"/>
                <a:gd name="T1" fmla="*/ 84 h 84"/>
                <a:gd name="T2" fmla="*/ 0 w 83"/>
                <a:gd name="T3" fmla="*/ 0 h 84"/>
                <a:gd name="T4" fmla="*/ 40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0"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41"/>
            <p:cNvSpPr>
              <a:spLocks/>
            </p:cNvSpPr>
            <p:nvPr userDrawn="1"/>
          </p:nvSpPr>
          <p:spPr bwMode="auto">
            <a:xfrm>
              <a:off x="6488113" y="5807075"/>
              <a:ext cx="131763" cy="133350"/>
            </a:xfrm>
            <a:custGeom>
              <a:avLst/>
              <a:gdLst>
                <a:gd name="T0" fmla="*/ 0 w 83"/>
                <a:gd name="T1" fmla="*/ 84 h 84"/>
                <a:gd name="T2" fmla="*/ 0 w 83"/>
                <a:gd name="T3" fmla="*/ 0 h 84"/>
                <a:gd name="T4" fmla="*/ 45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5"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42"/>
            <p:cNvSpPr>
              <a:spLocks/>
            </p:cNvSpPr>
            <p:nvPr userDrawn="1"/>
          </p:nvSpPr>
          <p:spPr bwMode="auto">
            <a:xfrm>
              <a:off x="6883400" y="5807075"/>
              <a:ext cx="131763" cy="133350"/>
            </a:xfrm>
            <a:custGeom>
              <a:avLst/>
              <a:gdLst>
                <a:gd name="T0" fmla="*/ 0 w 83"/>
                <a:gd name="T1" fmla="*/ 84 h 84"/>
                <a:gd name="T2" fmla="*/ 0 w 83"/>
                <a:gd name="T3" fmla="*/ 0 h 84"/>
                <a:gd name="T4" fmla="*/ 42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2"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43"/>
            <p:cNvSpPr>
              <a:spLocks/>
            </p:cNvSpPr>
            <p:nvPr userDrawn="1"/>
          </p:nvSpPr>
          <p:spPr bwMode="auto">
            <a:xfrm>
              <a:off x="7277100" y="5807075"/>
              <a:ext cx="133350" cy="133350"/>
            </a:xfrm>
            <a:custGeom>
              <a:avLst/>
              <a:gdLst>
                <a:gd name="T0" fmla="*/ 0 w 84"/>
                <a:gd name="T1" fmla="*/ 84 h 84"/>
                <a:gd name="T2" fmla="*/ 0 w 84"/>
                <a:gd name="T3" fmla="*/ 0 h 84"/>
                <a:gd name="T4" fmla="*/ 39 w 84"/>
                <a:gd name="T5" fmla="*/ 0 h 84"/>
                <a:gd name="T6" fmla="*/ 84 w 84"/>
                <a:gd name="T7" fmla="*/ 0 h 84"/>
                <a:gd name="T8" fmla="*/ 84 w 84"/>
                <a:gd name="T9" fmla="*/ 84 h 84"/>
                <a:gd name="T10" fmla="*/ 0 w 84"/>
                <a:gd name="T11" fmla="*/ 84 h 84"/>
              </a:gdLst>
              <a:ahLst/>
              <a:cxnLst>
                <a:cxn ang="0">
                  <a:pos x="T0" y="T1"/>
                </a:cxn>
                <a:cxn ang="0">
                  <a:pos x="T2" y="T3"/>
                </a:cxn>
                <a:cxn ang="0">
                  <a:pos x="T4" y="T5"/>
                </a:cxn>
                <a:cxn ang="0">
                  <a:pos x="T6" y="T7"/>
                </a:cxn>
                <a:cxn ang="0">
                  <a:pos x="T8" y="T9"/>
                </a:cxn>
                <a:cxn ang="0">
                  <a:pos x="T10" y="T11"/>
                </a:cxn>
              </a:cxnLst>
              <a:rect l="0" t="0" r="r" b="b"/>
              <a:pathLst>
                <a:path w="84" h="84">
                  <a:moveTo>
                    <a:pt x="0" y="84"/>
                  </a:moveTo>
                  <a:lnTo>
                    <a:pt x="0" y="0"/>
                  </a:lnTo>
                  <a:lnTo>
                    <a:pt x="39" y="0"/>
                  </a:lnTo>
                  <a:lnTo>
                    <a:pt x="84" y="0"/>
                  </a:lnTo>
                  <a:lnTo>
                    <a:pt x="84"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44"/>
            <p:cNvSpPr>
              <a:spLocks/>
            </p:cNvSpPr>
            <p:nvPr userDrawn="1"/>
          </p:nvSpPr>
          <p:spPr bwMode="auto">
            <a:xfrm>
              <a:off x="6086475" y="5508625"/>
              <a:ext cx="533400" cy="650875"/>
            </a:xfrm>
            <a:custGeom>
              <a:avLst/>
              <a:gdLst>
                <a:gd name="T0" fmla="*/ 322 w 325"/>
                <a:gd name="T1" fmla="*/ 0 h 397"/>
                <a:gd name="T2" fmla="*/ 4 w 325"/>
                <a:gd name="T3" fmla="*/ 0 h 397"/>
                <a:gd name="T4" fmla="*/ 0 w 325"/>
                <a:gd name="T5" fmla="*/ 140 h 397"/>
                <a:gd name="T6" fmla="*/ 21 w 325"/>
                <a:gd name="T7" fmla="*/ 143 h 397"/>
                <a:gd name="T8" fmla="*/ 54 w 325"/>
                <a:gd name="T9" fmla="*/ 52 h 397"/>
                <a:gd name="T10" fmla="*/ 131 w 325"/>
                <a:gd name="T11" fmla="*/ 19 h 397"/>
                <a:gd name="T12" fmla="*/ 131 w 325"/>
                <a:gd name="T13" fmla="*/ 312 h 397"/>
                <a:gd name="T14" fmla="*/ 120 w 325"/>
                <a:gd name="T15" fmla="*/ 362 h 397"/>
                <a:gd name="T16" fmla="*/ 88 w 325"/>
                <a:gd name="T17" fmla="*/ 374 h 397"/>
                <a:gd name="T18" fmla="*/ 65 w 325"/>
                <a:gd name="T19" fmla="*/ 374 h 397"/>
                <a:gd name="T20" fmla="*/ 65 w 325"/>
                <a:gd name="T21" fmla="*/ 397 h 397"/>
                <a:gd name="T22" fmla="*/ 261 w 325"/>
                <a:gd name="T23" fmla="*/ 397 h 397"/>
                <a:gd name="T24" fmla="*/ 261 w 325"/>
                <a:gd name="T25" fmla="*/ 374 h 397"/>
                <a:gd name="T26" fmla="*/ 238 w 325"/>
                <a:gd name="T27" fmla="*/ 374 h 397"/>
                <a:gd name="T28" fmla="*/ 206 w 325"/>
                <a:gd name="T29" fmla="*/ 362 h 397"/>
                <a:gd name="T30" fmla="*/ 194 w 325"/>
                <a:gd name="T31" fmla="*/ 312 h 397"/>
                <a:gd name="T32" fmla="*/ 194 w 325"/>
                <a:gd name="T33" fmla="*/ 19 h 397"/>
                <a:gd name="T34" fmla="*/ 272 w 325"/>
                <a:gd name="T35" fmla="*/ 52 h 397"/>
                <a:gd name="T36" fmla="*/ 304 w 325"/>
                <a:gd name="T37" fmla="*/ 143 h 397"/>
                <a:gd name="T38" fmla="*/ 325 w 325"/>
                <a:gd name="T39" fmla="*/ 140 h 397"/>
                <a:gd name="T40" fmla="*/ 322 w 325"/>
                <a:gd name="T41"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 h="397">
                  <a:moveTo>
                    <a:pt x="322" y="0"/>
                  </a:moveTo>
                  <a:cubicBezTo>
                    <a:pt x="4" y="0"/>
                    <a:pt x="4" y="0"/>
                    <a:pt x="4" y="0"/>
                  </a:cubicBezTo>
                  <a:cubicBezTo>
                    <a:pt x="0" y="140"/>
                    <a:pt x="0" y="140"/>
                    <a:pt x="0" y="140"/>
                  </a:cubicBezTo>
                  <a:cubicBezTo>
                    <a:pt x="21" y="143"/>
                    <a:pt x="21" y="143"/>
                    <a:pt x="21" y="143"/>
                  </a:cubicBezTo>
                  <a:cubicBezTo>
                    <a:pt x="25" y="102"/>
                    <a:pt x="36" y="72"/>
                    <a:pt x="54" y="52"/>
                  </a:cubicBezTo>
                  <a:cubicBezTo>
                    <a:pt x="72" y="31"/>
                    <a:pt x="98" y="20"/>
                    <a:pt x="131" y="19"/>
                  </a:cubicBezTo>
                  <a:cubicBezTo>
                    <a:pt x="131" y="312"/>
                    <a:pt x="131" y="312"/>
                    <a:pt x="131" y="312"/>
                  </a:cubicBezTo>
                  <a:cubicBezTo>
                    <a:pt x="131" y="337"/>
                    <a:pt x="127" y="354"/>
                    <a:pt x="120" y="362"/>
                  </a:cubicBezTo>
                  <a:cubicBezTo>
                    <a:pt x="114" y="368"/>
                    <a:pt x="103" y="372"/>
                    <a:pt x="88" y="374"/>
                  </a:cubicBezTo>
                  <a:cubicBezTo>
                    <a:pt x="83" y="374"/>
                    <a:pt x="76" y="374"/>
                    <a:pt x="65" y="374"/>
                  </a:cubicBezTo>
                  <a:cubicBezTo>
                    <a:pt x="65" y="397"/>
                    <a:pt x="65" y="397"/>
                    <a:pt x="65" y="397"/>
                  </a:cubicBezTo>
                  <a:cubicBezTo>
                    <a:pt x="261" y="397"/>
                    <a:pt x="261" y="397"/>
                    <a:pt x="261" y="397"/>
                  </a:cubicBezTo>
                  <a:cubicBezTo>
                    <a:pt x="261" y="374"/>
                    <a:pt x="261" y="374"/>
                    <a:pt x="261" y="374"/>
                  </a:cubicBezTo>
                  <a:cubicBezTo>
                    <a:pt x="250" y="374"/>
                    <a:pt x="242" y="374"/>
                    <a:pt x="238" y="374"/>
                  </a:cubicBezTo>
                  <a:cubicBezTo>
                    <a:pt x="223" y="372"/>
                    <a:pt x="212" y="368"/>
                    <a:pt x="206" y="362"/>
                  </a:cubicBezTo>
                  <a:cubicBezTo>
                    <a:pt x="198" y="354"/>
                    <a:pt x="194" y="337"/>
                    <a:pt x="194" y="312"/>
                  </a:cubicBezTo>
                  <a:cubicBezTo>
                    <a:pt x="194" y="19"/>
                    <a:pt x="194" y="19"/>
                    <a:pt x="194" y="19"/>
                  </a:cubicBezTo>
                  <a:cubicBezTo>
                    <a:pt x="228" y="20"/>
                    <a:pt x="253" y="31"/>
                    <a:pt x="272" y="52"/>
                  </a:cubicBezTo>
                  <a:cubicBezTo>
                    <a:pt x="290" y="72"/>
                    <a:pt x="301" y="102"/>
                    <a:pt x="304" y="143"/>
                  </a:cubicBezTo>
                  <a:cubicBezTo>
                    <a:pt x="325" y="140"/>
                    <a:pt x="325" y="140"/>
                    <a:pt x="325" y="140"/>
                  </a:cubicBezTo>
                  <a:lnTo>
                    <a:pt x="3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45"/>
            <p:cNvSpPr>
              <a:spLocks/>
            </p:cNvSpPr>
            <p:nvPr userDrawn="1"/>
          </p:nvSpPr>
          <p:spPr bwMode="auto">
            <a:xfrm>
              <a:off x="7524750" y="5518150"/>
              <a:ext cx="392113" cy="657225"/>
            </a:xfrm>
            <a:custGeom>
              <a:avLst/>
              <a:gdLst>
                <a:gd name="T0" fmla="*/ 202 w 239"/>
                <a:gd name="T1" fmla="*/ 134 h 400"/>
                <a:gd name="T2" fmla="*/ 175 w 239"/>
                <a:gd name="T3" fmla="*/ 59 h 400"/>
                <a:gd name="T4" fmla="*/ 108 w 239"/>
                <a:gd name="T5" fmla="*/ 20 h 400"/>
                <a:gd name="T6" fmla="*/ 66 w 239"/>
                <a:gd name="T7" fmla="*/ 35 h 400"/>
                <a:gd name="T8" fmla="*/ 45 w 239"/>
                <a:gd name="T9" fmla="*/ 84 h 400"/>
                <a:gd name="T10" fmla="*/ 68 w 239"/>
                <a:gd name="T11" fmla="*/ 134 h 400"/>
                <a:gd name="T12" fmla="*/ 120 w 239"/>
                <a:gd name="T13" fmla="*/ 159 h 400"/>
                <a:gd name="T14" fmla="*/ 198 w 239"/>
                <a:gd name="T15" fmla="*/ 193 h 400"/>
                <a:gd name="T16" fmla="*/ 239 w 239"/>
                <a:gd name="T17" fmla="*/ 279 h 400"/>
                <a:gd name="T18" fmla="*/ 205 w 239"/>
                <a:gd name="T19" fmla="*/ 367 h 400"/>
                <a:gd name="T20" fmla="*/ 127 w 239"/>
                <a:gd name="T21" fmla="*/ 400 h 400"/>
                <a:gd name="T22" fmla="*/ 82 w 239"/>
                <a:gd name="T23" fmla="*/ 391 h 400"/>
                <a:gd name="T24" fmla="*/ 52 w 239"/>
                <a:gd name="T25" fmla="*/ 374 h 400"/>
                <a:gd name="T26" fmla="*/ 40 w 239"/>
                <a:gd name="T27" fmla="*/ 370 h 400"/>
                <a:gd name="T28" fmla="*/ 26 w 239"/>
                <a:gd name="T29" fmla="*/ 378 h 400"/>
                <a:gd name="T30" fmla="*/ 18 w 239"/>
                <a:gd name="T31" fmla="*/ 391 h 400"/>
                <a:gd name="T32" fmla="*/ 0 w 239"/>
                <a:gd name="T33" fmla="*/ 391 h 400"/>
                <a:gd name="T34" fmla="*/ 0 w 239"/>
                <a:gd name="T35" fmla="*/ 252 h 400"/>
                <a:gd name="T36" fmla="*/ 19 w 239"/>
                <a:gd name="T37" fmla="*/ 252 h 400"/>
                <a:gd name="T38" fmla="*/ 46 w 239"/>
                <a:gd name="T39" fmla="*/ 332 h 400"/>
                <a:gd name="T40" fmla="*/ 124 w 239"/>
                <a:gd name="T41" fmla="*/ 379 h 400"/>
                <a:gd name="T42" fmla="*/ 171 w 239"/>
                <a:gd name="T43" fmla="*/ 363 h 400"/>
                <a:gd name="T44" fmla="*/ 195 w 239"/>
                <a:gd name="T45" fmla="*/ 304 h 400"/>
                <a:gd name="T46" fmla="*/ 158 w 239"/>
                <a:gd name="T47" fmla="*/ 239 h 400"/>
                <a:gd name="T48" fmla="*/ 94 w 239"/>
                <a:gd name="T49" fmla="*/ 214 h 400"/>
                <a:gd name="T50" fmla="*/ 35 w 239"/>
                <a:gd name="T51" fmla="*/ 183 h 400"/>
                <a:gd name="T52" fmla="*/ 3 w 239"/>
                <a:gd name="T53" fmla="*/ 107 h 400"/>
                <a:gd name="T54" fmla="*/ 38 w 239"/>
                <a:gd name="T55" fmla="*/ 25 h 400"/>
                <a:gd name="T56" fmla="*/ 105 w 239"/>
                <a:gd name="T57" fmla="*/ 0 h 400"/>
                <a:gd name="T58" fmla="*/ 148 w 239"/>
                <a:gd name="T59" fmla="*/ 8 h 400"/>
                <a:gd name="T60" fmla="*/ 175 w 239"/>
                <a:gd name="T61" fmla="*/ 23 h 400"/>
                <a:gd name="T62" fmla="*/ 185 w 239"/>
                <a:gd name="T63" fmla="*/ 26 h 400"/>
                <a:gd name="T64" fmla="*/ 203 w 239"/>
                <a:gd name="T65" fmla="*/ 8 h 400"/>
                <a:gd name="T66" fmla="*/ 219 w 239"/>
                <a:gd name="T67" fmla="*/ 8 h 400"/>
                <a:gd name="T68" fmla="*/ 219 w 239"/>
                <a:gd name="T69" fmla="*/ 134 h 400"/>
                <a:gd name="T70" fmla="*/ 202 w 239"/>
                <a:gd name="T71" fmla="*/ 13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9" h="400">
                  <a:moveTo>
                    <a:pt x="202" y="134"/>
                  </a:moveTo>
                  <a:cubicBezTo>
                    <a:pt x="195" y="100"/>
                    <a:pt x="186" y="75"/>
                    <a:pt x="175" y="59"/>
                  </a:cubicBezTo>
                  <a:cubicBezTo>
                    <a:pt x="158" y="33"/>
                    <a:pt x="135" y="20"/>
                    <a:pt x="108" y="20"/>
                  </a:cubicBezTo>
                  <a:cubicBezTo>
                    <a:pt x="91" y="20"/>
                    <a:pt x="77" y="25"/>
                    <a:pt x="66" y="35"/>
                  </a:cubicBezTo>
                  <a:cubicBezTo>
                    <a:pt x="52" y="47"/>
                    <a:pt x="45" y="63"/>
                    <a:pt x="45" y="84"/>
                  </a:cubicBezTo>
                  <a:cubicBezTo>
                    <a:pt x="45" y="105"/>
                    <a:pt x="53" y="122"/>
                    <a:pt x="68" y="134"/>
                  </a:cubicBezTo>
                  <a:cubicBezTo>
                    <a:pt x="77" y="142"/>
                    <a:pt x="94" y="150"/>
                    <a:pt x="120" y="159"/>
                  </a:cubicBezTo>
                  <a:cubicBezTo>
                    <a:pt x="159" y="172"/>
                    <a:pt x="184" y="184"/>
                    <a:pt x="198" y="193"/>
                  </a:cubicBezTo>
                  <a:cubicBezTo>
                    <a:pt x="225" y="214"/>
                    <a:pt x="239" y="243"/>
                    <a:pt x="239" y="279"/>
                  </a:cubicBezTo>
                  <a:cubicBezTo>
                    <a:pt x="239" y="314"/>
                    <a:pt x="228" y="344"/>
                    <a:pt x="205" y="367"/>
                  </a:cubicBezTo>
                  <a:cubicBezTo>
                    <a:pt x="184" y="389"/>
                    <a:pt x="158" y="400"/>
                    <a:pt x="127" y="400"/>
                  </a:cubicBezTo>
                  <a:cubicBezTo>
                    <a:pt x="111" y="400"/>
                    <a:pt x="96" y="397"/>
                    <a:pt x="82" y="391"/>
                  </a:cubicBezTo>
                  <a:cubicBezTo>
                    <a:pt x="76" y="388"/>
                    <a:pt x="66" y="383"/>
                    <a:pt x="52" y="374"/>
                  </a:cubicBezTo>
                  <a:cubicBezTo>
                    <a:pt x="48" y="372"/>
                    <a:pt x="44" y="370"/>
                    <a:pt x="40" y="370"/>
                  </a:cubicBezTo>
                  <a:cubicBezTo>
                    <a:pt x="34" y="370"/>
                    <a:pt x="30" y="373"/>
                    <a:pt x="26" y="378"/>
                  </a:cubicBezTo>
                  <a:cubicBezTo>
                    <a:pt x="24" y="381"/>
                    <a:pt x="21" y="385"/>
                    <a:pt x="18" y="391"/>
                  </a:cubicBezTo>
                  <a:cubicBezTo>
                    <a:pt x="0" y="391"/>
                    <a:pt x="0" y="391"/>
                    <a:pt x="0" y="391"/>
                  </a:cubicBezTo>
                  <a:cubicBezTo>
                    <a:pt x="0" y="252"/>
                    <a:pt x="0" y="252"/>
                    <a:pt x="0" y="252"/>
                  </a:cubicBezTo>
                  <a:cubicBezTo>
                    <a:pt x="19" y="252"/>
                    <a:pt x="19" y="252"/>
                    <a:pt x="19" y="252"/>
                  </a:cubicBezTo>
                  <a:cubicBezTo>
                    <a:pt x="25" y="287"/>
                    <a:pt x="35" y="314"/>
                    <a:pt x="46" y="332"/>
                  </a:cubicBezTo>
                  <a:cubicBezTo>
                    <a:pt x="66" y="364"/>
                    <a:pt x="92" y="379"/>
                    <a:pt x="124" y="379"/>
                  </a:cubicBezTo>
                  <a:cubicBezTo>
                    <a:pt x="143" y="379"/>
                    <a:pt x="159" y="374"/>
                    <a:pt x="171" y="363"/>
                  </a:cubicBezTo>
                  <a:cubicBezTo>
                    <a:pt x="187" y="348"/>
                    <a:pt x="195" y="329"/>
                    <a:pt x="195" y="304"/>
                  </a:cubicBezTo>
                  <a:cubicBezTo>
                    <a:pt x="195" y="275"/>
                    <a:pt x="183" y="253"/>
                    <a:pt x="158" y="239"/>
                  </a:cubicBezTo>
                  <a:cubicBezTo>
                    <a:pt x="150" y="234"/>
                    <a:pt x="129" y="226"/>
                    <a:pt x="94" y="214"/>
                  </a:cubicBezTo>
                  <a:cubicBezTo>
                    <a:pt x="69" y="206"/>
                    <a:pt x="49" y="195"/>
                    <a:pt x="35" y="183"/>
                  </a:cubicBezTo>
                  <a:cubicBezTo>
                    <a:pt x="14" y="164"/>
                    <a:pt x="3" y="139"/>
                    <a:pt x="3" y="107"/>
                  </a:cubicBezTo>
                  <a:cubicBezTo>
                    <a:pt x="3" y="72"/>
                    <a:pt x="15" y="45"/>
                    <a:pt x="38" y="25"/>
                  </a:cubicBezTo>
                  <a:cubicBezTo>
                    <a:pt x="56" y="8"/>
                    <a:pt x="79" y="0"/>
                    <a:pt x="105" y="0"/>
                  </a:cubicBezTo>
                  <a:cubicBezTo>
                    <a:pt x="119" y="0"/>
                    <a:pt x="134" y="2"/>
                    <a:pt x="148" y="8"/>
                  </a:cubicBezTo>
                  <a:cubicBezTo>
                    <a:pt x="153" y="10"/>
                    <a:pt x="162" y="15"/>
                    <a:pt x="175" y="23"/>
                  </a:cubicBezTo>
                  <a:cubicBezTo>
                    <a:pt x="179" y="25"/>
                    <a:pt x="182" y="26"/>
                    <a:pt x="185" y="26"/>
                  </a:cubicBezTo>
                  <a:cubicBezTo>
                    <a:pt x="191" y="26"/>
                    <a:pt x="197" y="20"/>
                    <a:pt x="203" y="8"/>
                  </a:cubicBezTo>
                  <a:cubicBezTo>
                    <a:pt x="219" y="8"/>
                    <a:pt x="219" y="8"/>
                    <a:pt x="219" y="8"/>
                  </a:cubicBezTo>
                  <a:cubicBezTo>
                    <a:pt x="219" y="134"/>
                    <a:pt x="219" y="134"/>
                    <a:pt x="219" y="134"/>
                  </a:cubicBezTo>
                  <a:lnTo>
                    <a:pt x="202"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46"/>
            <p:cNvSpPr>
              <a:spLocks/>
            </p:cNvSpPr>
            <p:nvPr userDrawn="1"/>
          </p:nvSpPr>
          <p:spPr bwMode="auto">
            <a:xfrm>
              <a:off x="7943850" y="5727700"/>
              <a:ext cx="422275" cy="601663"/>
            </a:xfrm>
            <a:custGeom>
              <a:avLst/>
              <a:gdLst>
                <a:gd name="T0" fmla="*/ 0 w 258"/>
                <a:gd name="T1" fmla="*/ 0 h 367"/>
                <a:gd name="T2" fmla="*/ 119 w 258"/>
                <a:gd name="T3" fmla="*/ 0 h 367"/>
                <a:gd name="T4" fmla="*/ 119 w 258"/>
                <a:gd name="T5" fmla="*/ 18 h 367"/>
                <a:gd name="T6" fmla="*/ 109 w 258"/>
                <a:gd name="T7" fmla="*/ 18 h 367"/>
                <a:gd name="T8" fmla="*/ 86 w 258"/>
                <a:gd name="T9" fmla="*/ 30 h 367"/>
                <a:gd name="T10" fmla="*/ 90 w 258"/>
                <a:gd name="T11" fmla="*/ 46 h 367"/>
                <a:gd name="T12" fmla="*/ 147 w 258"/>
                <a:gd name="T13" fmla="*/ 196 h 367"/>
                <a:gd name="T14" fmla="*/ 197 w 258"/>
                <a:gd name="T15" fmla="*/ 57 h 367"/>
                <a:gd name="T16" fmla="*/ 202 w 258"/>
                <a:gd name="T17" fmla="*/ 34 h 367"/>
                <a:gd name="T18" fmla="*/ 177 w 258"/>
                <a:gd name="T19" fmla="*/ 18 h 367"/>
                <a:gd name="T20" fmla="*/ 164 w 258"/>
                <a:gd name="T21" fmla="*/ 18 h 367"/>
                <a:gd name="T22" fmla="*/ 164 w 258"/>
                <a:gd name="T23" fmla="*/ 0 h 367"/>
                <a:gd name="T24" fmla="*/ 258 w 258"/>
                <a:gd name="T25" fmla="*/ 0 h 367"/>
                <a:gd name="T26" fmla="*/ 258 w 258"/>
                <a:gd name="T27" fmla="*/ 18 h 367"/>
                <a:gd name="T28" fmla="*/ 252 w 258"/>
                <a:gd name="T29" fmla="*/ 18 h 367"/>
                <a:gd name="T30" fmla="*/ 235 w 258"/>
                <a:gd name="T31" fmla="*/ 26 h 367"/>
                <a:gd name="T32" fmla="*/ 226 w 258"/>
                <a:gd name="T33" fmla="*/ 44 h 367"/>
                <a:gd name="T34" fmla="*/ 131 w 258"/>
                <a:gd name="T35" fmla="*/ 299 h 367"/>
                <a:gd name="T36" fmla="*/ 101 w 258"/>
                <a:gd name="T37" fmla="*/ 351 h 367"/>
                <a:gd name="T38" fmla="*/ 60 w 258"/>
                <a:gd name="T39" fmla="*/ 367 h 367"/>
                <a:gd name="T40" fmla="*/ 25 w 258"/>
                <a:gd name="T41" fmla="*/ 355 h 367"/>
                <a:gd name="T42" fmla="*/ 7 w 258"/>
                <a:gd name="T43" fmla="*/ 318 h 367"/>
                <a:gd name="T44" fmla="*/ 15 w 258"/>
                <a:gd name="T45" fmla="*/ 295 h 367"/>
                <a:gd name="T46" fmla="*/ 38 w 258"/>
                <a:gd name="T47" fmla="*/ 285 h 367"/>
                <a:gd name="T48" fmla="*/ 62 w 258"/>
                <a:gd name="T49" fmla="*/ 296 h 367"/>
                <a:gd name="T50" fmla="*/ 67 w 258"/>
                <a:gd name="T51" fmla="*/ 313 h 367"/>
                <a:gd name="T52" fmla="*/ 58 w 258"/>
                <a:gd name="T53" fmla="*/ 334 h 367"/>
                <a:gd name="T54" fmla="*/ 43 w 258"/>
                <a:gd name="T55" fmla="*/ 341 h 367"/>
                <a:gd name="T56" fmla="*/ 61 w 258"/>
                <a:gd name="T57" fmla="*/ 348 h 367"/>
                <a:gd name="T58" fmla="*/ 90 w 258"/>
                <a:gd name="T59" fmla="*/ 335 h 367"/>
                <a:gd name="T60" fmla="*/ 115 w 258"/>
                <a:gd name="T61" fmla="*/ 284 h 367"/>
                <a:gd name="T62" fmla="*/ 121 w 258"/>
                <a:gd name="T63" fmla="*/ 266 h 367"/>
                <a:gd name="T64" fmla="*/ 42 w 258"/>
                <a:gd name="T65" fmla="*/ 55 h 367"/>
                <a:gd name="T66" fmla="*/ 27 w 258"/>
                <a:gd name="T67" fmla="*/ 24 h 367"/>
                <a:gd name="T68" fmla="*/ 4 w 258"/>
                <a:gd name="T69" fmla="*/ 18 h 367"/>
                <a:gd name="T70" fmla="*/ 0 w 258"/>
                <a:gd name="T71" fmla="*/ 18 h 367"/>
                <a:gd name="T72" fmla="*/ 0 w 258"/>
                <a:gd name="T73"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8" h="367">
                  <a:moveTo>
                    <a:pt x="0" y="0"/>
                  </a:moveTo>
                  <a:cubicBezTo>
                    <a:pt x="119" y="0"/>
                    <a:pt x="119" y="0"/>
                    <a:pt x="119" y="0"/>
                  </a:cubicBezTo>
                  <a:cubicBezTo>
                    <a:pt x="119" y="18"/>
                    <a:pt x="119" y="18"/>
                    <a:pt x="119" y="18"/>
                  </a:cubicBezTo>
                  <a:cubicBezTo>
                    <a:pt x="109" y="18"/>
                    <a:pt x="109" y="18"/>
                    <a:pt x="109" y="18"/>
                  </a:cubicBezTo>
                  <a:cubicBezTo>
                    <a:pt x="93" y="18"/>
                    <a:pt x="86" y="22"/>
                    <a:pt x="86" y="30"/>
                  </a:cubicBezTo>
                  <a:cubicBezTo>
                    <a:pt x="86" y="34"/>
                    <a:pt x="87" y="39"/>
                    <a:pt x="90" y="46"/>
                  </a:cubicBezTo>
                  <a:cubicBezTo>
                    <a:pt x="147" y="196"/>
                    <a:pt x="147" y="196"/>
                    <a:pt x="147" y="196"/>
                  </a:cubicBezTo>
                  <a:cubicBezTo>
                    <a:pt x="197" y="57"/>
                    <a:pt x="197" y="57"/>
                    <a:pt x="197" y="57"/>
                  </a:cubicBezTo>
                  <a:cubicBezTo>
                    <a:pt x="200" y="47"/>
                    <a:pt x="202" y="39"/>
                    <a:pt x="202" y="34"/>
                  </a:cubicBezTo>
                  <a:cubicBezTo>
                    <a:pt x="202" y="23"/>
                    <a:pt x="194" y="18"/>
                    <a:pt x="177" y="18"/>
                  </a:cubicBezTo>
                  <a:cubicBezTo>
                    <a:pt x="164" y="18"/>
                    <a:pt x="164" y="18"/>
                    <a:pt x="164" y="18"/>
                  </a:cubicBezTo>
                  <a:cubicBezTo>
                    <a:pt x="164" y="0"/>
                    <a:pt x="164" y="0"/>
                    <a:pt x="164" y="0"/>
                  </a:cubicBezTo>
                  <a:cubicBezTo>
                    <a:pt x="258" y="0"/>
                    <a:pt x="258" y="0"/>
                    <a:pt x="258" y="0"/>
                  </a:cubicBezTo>
                  <a:cubicBezTo>
                    <a:pt x="258" y="18"/>
                    <a:pt x="258" y="18"/>
                    <a:pt x="258" y="18"/>
                  </a:cubicBezTo>
                  <a:cubicBezTo>
                    <a:pt x="252" y="18"/>
                    <a:pt x="252" y="18"/>
                    <a:pt x="252" y="18"/>
                  </a:cubicBezTo>
                  <a:cubicBezTo>
                    <a:pt x="245" y="18"/>
                    <a:pt x="240" y="20"/>
                    <a:pt x="235" y="26"/>
                  </a:cubicBezTo>
                  <a:cubicBezTo>
                    <a:pt x="232" y="29"/>
                    <a:pt x="229" y="36"/>
                    <a:pt x="226" y="44"/>
                  </a:cubicBezTo>
                  <a:cubicBezTo>
                    <a:pt x="131" y="299"/>
                    <a:pt x="131" y="299"/>
                    <a:pt x="131" y="299"/>
                  </a:cubicBezTo>
                  <a:cubicBezTo>
                    <a:pt x="122" y="323"/>
                    <a:pt x="112" y="340"/>
                    <a:pt x="101" y="351"/>
                  </a:cubicBezTo>
                  <a:cubicBezTo>
                    <a:pt x="90" y="362"/>
                    <a:pt x="76" y="367"/>
                    <a:pt x="60" y="367"/>
                  </a:cubicBezTo>
                  <a:cubicBezTo>
                    <a:pt x="46" y="367"/>
                    <a:pt x="34" y="363"/>
                    <a:pt x="25" y="355"/>
                  </a:cubicBezTo>
                  <a:cubicBezTo>
                    <a:pt x="13" y="345"/>
                    <a:pt x="7" y="333"/>
                    <a:pt x="7" y="318"/>
                  </a:cubicBezTo>
                  <a:cubicBezTo>
                    <a:pt x="7" y="309"/>
                    <a:pt x="10" y="301"/>
                    <a:pt x="15" y="295"/>
                  </a:cubicBezTo>
                  <a:cubicBezTo>
                    <a:pt x="21" y="288"/>
                    <a:pt x="28" y="285"/>
                    <a:pt x="38" y="285"/>
                  </a:cubicBezTo>
                  <a:cubicBezTo>
                    <a:pt x="49" y="285"/>
                    <a:pt x="57" y="289"/>
                    <a:pt x="62" y="296"/>
                  </a:cubicBezTo>
                  <a:cubicBezTo>
                    <a:pt x="66" y="301"/>
                    <a:pt x="67" y="306"/>
                    <a:pt x="67" y="313"/>
                  </a:cubicBezTo>
                  <a:cubicBezTo>
                    <a:pt x="67" y="321"/>
                    <a:pt x="64" y="328"/>
                    <a:pt x="58" y="334"/>
                  </a:cubicBezTo>
                  <a:cubicBezTo>
                    <a:pt x="54" y="337"/>
                    <a:pt x="49" y="340"/>
                    <a:pt x="43" y="341"/>
                  </a:cubicBezTo>
                  <a:cubicBezTo>
                    <a:pt x="48" y="345"/>
                    <a:pt x="53" y="348"/>
                    <a:pt x="61" y="348"/>
                  </a:cubicBezTo>
                  <a:cubicBezTo>
                    <a:pt x="72" y="348"/>
                    <a:pt x="82" y="343"/>
                    <a:pt x="90" y="335"/>
                  </a:cubicBezTo>
                  <a:cubicBezTo>
                    <a:pt x="97" y="327"/>
                    <a:pt x="106" y="310"/>
                    <a:pt x="115" y="284"/>
                  </a:cubicBezTo>
                  <a:cubicBezTo>
                    <a:pt x="121" y="266"/>
                    <a:pt x="121" y="266"/>
                    <a:pt x="121" y="266"/>
                  </a:cubicBezTo>
                  <a:cubicBezTo>
                    <a:pt x="42" y="55"/>
                    <a:pt x="42" y="55"/>
                    <a:pt x="42" y="55"/>
                  </a:cubicBezTo>
                  <a:cubicBezTo>
                    <a:pt x="36" y="38"/>
                    <a:pt x="31" y="28"/>
                    <a:pt x="27" y="24"/>
                  </a:cubicBezTo>
                  <a:cubicBezTo>
                    <a:pt x="21" y="20"/>
                    <a:pt x="14" y="18"/>
                    <a:pt x="4" y="18"/>
                  </a:cubicBezTo>
                  <a:cubicBezTo>
                    <a:pt x="0" y="18"/>
                    <a:pt x="0" y="18"/>
                    <a:pt x="0" y="18"/>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47"/>
            <p:cNvSpPr>
              <a:spLocks/>
            </p:cNvSpPr>
            <p:nvPr userDrawn="1"/>
          </p:nvSpPr>
          <p:spPr bwMode="auto">
            <a:xfrm>
              <a:off x="8372475" y="5716588"/>
              <a:ext cx="301625" cy="452438"/>
            </a:xfrm>
            <a:custGeom>
              <a:avLst/>
              <a:gdLst>
                <a:gd name="T0" fmla="*/ 168 w 184"/>
                <a:gd name="T1" fmla="*/ 6 h 275"/>
                <a:gd name="T2" fmla="*/ 168 w 184"/>
                <a:gd name="T3" fmla="*/ 89 h 275"/>
                <a:gd name="T4" fmla="*/ 151 w 184"/>
                <a:gd name="T5" fmla="*/ 89 h 275"/>
                <a:gd name="T6" fmla="*/ 84 w 184"/>
                <a:gd name="T7" fmla="*/ 17 h 275"/>
                <a:gd name="T8" fmla="*/ 53 w 184"/>
                <a:gd name="T9" fmla="*/ 28 h 275"/>
                <a:gd name="T10" fmla="*/ 41 w 184"/>
                <a:gd name="T11" fmla="*/ 57 h 275"/>
                <a:gd name="T12" fmla="*/ 58 w 184"/>
                <a:gd name="T13" fmla="*/ 88 h 275"/>
                <a:gd name="T14" fmla="*/ 89 w 184"/>
                <a:gd name="T15" fmla="*/ 101 h 275"/>
                <a:gd name="T16" fmla="*/ 152 w 184"/>
                <a:gd name="T17" fmla="*/ 128 h 275"/>
                <a:gd name="T18" fmla="*/ 184 w 184"/>
                <a:gd name="T19" fmla="*/ 191 h 275"/>
                <a:gd name="T20" fmla="*/ 157 w 184"/>
                <a:gd name="T21" fmla="*/ 255 h 275"/>
                <a:gd name="T22" fmla="*/ 98 w 184"/>
                <a:gd name="T23" fmla="*/ 275 h 275"/>
                <a:gd name="T24" fmla="*/ 60 w 184"/>
                <a:gd name="T25" fmla="*/ 268 h 275"/>
                <a:gd name="T26" fmla="*/ 34 w 184"/>
                <a:gd name="T27" fmla="*/ 254 h 275"/>
                <a:gd name="T28" fmla="*/ 26 w 184"/>
                <a:gd name="T29" fmla="*/ 252 h 275"/>
                <a:gd name="T30" fmla="*/ 16 w 184"/>
                <a:gd name="T31" fmla="*/ 270 h 275"/>
                <a:gd name="T32" fmla="*/ 0 w 184"/>
                <a:gd name="T33" fmla="*/ 270 h 275"/>
                <a:gd name="T34" fmla="*/ 0 w 184"/>
                <a:gd name="T35" fmla="*/ 172 h 275"/>
                <a:gd name="T36" fmla="*/ 16 w 184"/>
                <a:gd name="T37" fmla="*/ 172 h 275"/>
                <a:gd name="T38" fmla="*/ 37 w 184"/>
                <a:gd name="T39" fmla="*/ 224 h 275"/>
                <a:gd name="T40" fmla="*/ 63 w 184"/>
                <a:gd name="T41" fmla="*/ 248 h 275"/>
                <a:gd name="T42" fmla="*/ 97 w 184"/>
                <a:gd name="T43" fmla="*/ 257 h 275"/>
                <a:gd name="T44" fmla="*/ 132 w 184"/>
                <a:gd name="T45" fmla="*/ 242 h 275"/>
                <a:gd name="T46" fmla="*/ 144 w 184"/>
                <a:gd name="T47" fmla="*/ 210 h 275"/>
                <a:gd name="T48" fmla="*/ 120 w 184"/>
                <a:gd name="T49" fmla="*/ 170 h 275"/>
                <a:gd name="T50" fmla="*/ 70 w 184"/>
                <a:gd name="T51" fmla="*/ 149 h 275"/>
                <a:gd name="T52" fmla="*/ 28 w 184"/>
                <a:gd name="T53" fmla="*/ 128 h 275"/>
                <a:gd name="T54" fmla="*/ 3 w 184"/>
                <a:gd name="T55" fmla="*/ 72 h 275"/>
                <a:gd name="T56" fmla="*/ 26 w 184"/>
                <a:gd name="T57" fmla="*/ 19 h 275"/>
                <a:gd name="T58" fmla="*/ 80 w 184"/>
                <a:gd name="T59" fmla="*/ 0 h 275"/>
                <a:gd name="T60" fmla="*/ 134 w 184"/>
                <a:gd name="T61" fmla="*/ 16 h 275"/>
                <a:gd name="T62" fmla="*/ 143 w 184"/>
                <a:gd name="T63" fmla="*/ 19 h 275"/>
                <a:gd name="T64" fmla="*/ 151 w 184"/>
                <a:gd name="T65" fmla="*/ 6 h 275"/>
                <a:gd name="T66" fmla="*/ 168 w 184"/>
                <a:gd name="T67" fmla="*/ 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75">
                  <a:moveTo>
                    <a:pt x="168" y="6"/>
                  </a:moveTo>
                  <a:cubicBezTo>
                    <a:pt x="168" y="89"/>
                    <a:pt x="168" y="89"/>
                    <a:pt x="168" y="89"/>
                  </a:cubicBezTo>
                  <a:cubicBezTo>
                    <a:pt x="151" y="89"/>
                    <a:pt x="151" y="89"/>
                    <a:pt x="151" y="89"/>
                  </a:cubicBezTo>
                  <a:cubicBezTo>
                    <a:pt x="142" y="41"/>
                    <a:pt x="119" y="17"/>
                    <a:pt x="84" y="17"/>
                  </a:cubicBezTo>
                  <a:cubicBezTo>
                    <a:pt x="71" y="17"/>
                    <a:pt x="61" y="21"/>
                    <a:pt x="53" y="28"/>
                  </a:cubicBezTo>
                  <a:cubicBezTo>
                    <a:pt x="45" y="36"/>
                    <a:pt x="41" y="46"/>
                    <a:pt x="41" y="57"/>
                  </a:cubicBezTo>
                  <a:cubicBezTo>
                    <a:pt x="41" y="70"/>
                    <a:pt x="47" y="80"/>
                    <a:pt x="58" y="88"/>
                  </a:cubicBezTo>
                  <a:cubicBezTo>
                    <a:pt x="64" y="92"/>
                    <a:pt x="74" y="96"/>
                    <a:pt x="89" y="101"/>
                  </a:cubicBezTo>
                  <a:cubicBezTo>
                    <a:pt x="120" y="111"/>
                    <a:pt x="142" y="120"/>
                    <a:pt x="152" y="128"/>
                  </a:cubicBezTo>
                  <a:cubicBezTo>
                    <a:pt x="173" y="144"/>
                    <a:pt x="184" y="165"/>
                    <a:pt x="184" y="191"/>
                  </a:cubicBezTo>
                  <a:cubicBezTo>
                    <a:pt x="184" y="217"/>
                    <a:pt x="175" y="238"/>
                    <a:pt x="157" y="255"/>
                  </a:cubicBezTo>
                  <a:cubicBezTo>
                    <a:pt x="141" y="269"/>
                    <a:pt x="122" y="275"/>
                    <a:pt x="98" y="275"/>
                  </a:cubicBezTo>
                  <a:cubicBezTo>
                    <a:pt x="84" y="275"/>
                    <a:pt x="71" y="273"/>
                    <a:pt x="60" y="268"/>
                  </a:cubicBezTo>
                  <a:cubicBezTo>
                    <a:pt x="55" y="266"/>
                    <a:pt x="46" y="262"/>
                    <a:pt x="34" y="254"/>
                  </a:cubicBezTo>
                  <a:cubicBezTo>
                    <a:pt x="31" y="253"/>
                    <a:pt x="28" y="252"/>
                    <a:pt x="26" y="252"/>
                  </a:cubicBezTo>
                  <a:cubicBezTo>
                    <a:pt x="23" y="252"/>
                    <a:pt x="19" y="258"/>
                    <a:pt x="16" y="270"/>
                  </a:cubicBezTo>
                  <a:cubicBezTo>
                    <a:pt x="0" y="270"/>
                    <a:pt x="0" y="270"/>
                    <a:pt x="0" y="270"/>
                  </a:cubicBezTo>
                  <a:cubicBezTo>
                    <a:pt x="0" y="172"/>
                    <a:pt x="0" y="172"/>
                    <a:pt x="0" y="172"/>
                  </a:cubicBezTo>
                  <a:cubicBezTo>
                    <a:pt x="16" y="172"/>
                    <a:pt x="16" y="172"/>
                    <a:pt x="16" y="172"/>
                  </a:cubicBezTo>
                  <a:cubicBezTo>
                    <a:pt x="23" y="196"/>
                    <a:pt x="30" y="214"/>
                    <a:pt x="37" y="224"/>
                  </a:cubicBezTo>
                  <a:cubicBezTo>
                    <a:pt x="44" y="234"/>
                    <a:pt x="53" y="242"/>
                    <a:pt x="63" y="248"/>
                  </a:cubicBezTo>
                  <a:cubicBezTo>
                    <a:pt x="74" y="254"/>
                    <a:pt x="85" y="257"/>
                    <a:pt x="97" y="257"/>
                  </a:cubicBezTo>
                  <a:cubicBezTo>
                    <a:pt x="112" y="257"/>
                    <a:pt x="123" y="252"/>
                    <a:pt x="132" y="242"/>
                  </a:cubicBezTo>
                  <a:cubicBezTo>
                    <a:pt x="140" y="233"/>
                    <a:pt x="144" y="222"/>
                    <a:pt x="144" y="210"/>
                  </a:cubicBezTo>
                  <a:cubicBezTo>
                    <a:pt x="144" y="193"/>
                    <a:pt x="136" y="179"/>
                    <a:pt x="120" y="170"/>
                  </a:cubicBezTo>
                  <a:cubicBezTo>
                    <a:pt x="112" y="164"/>
                    <a:pt x="95" y="158"/>
                    <a:pt x="70" y="149"/>
                  </a:cubicBezTo>
                  <a:cubicBezTo>
                    <a:pt x="53" y="144"/>
                    <a:pt x="39" y="137"/>
                    <a:pt x="28" y="128"/>
                  </a:cubicBezTo>
                  <a:cubicBezTo>
                    <a:pt x="11" y="115"/>
                    <a:pt x="3" y="97"/>
                    <a:pt x="3" y="72"/>
                  </a:cubicBezTo>
                  <a:cubicBezTo>
                    <a:pt x="3" y="50"/>
                    <a:pt x="10" y="32"/>
                    <a:pt x="26" y="19"/>
                  </a:cubicBezTo>
                  <a:cubicBezTo>
                    <a:pt x="40" y="6"/>
                    <a:pt x="58" y="0"/>
                    <a:pt x="80" y="0"/>
                  </a:cubicBezTo>
                  <a:cubicBezTo>
                    <a:pt x="99" y="0"/>
                    <a:pt x="117" y="5"/>
                    <a:pt x="134" y="16"/>
                  </a:cubicBezTo>
                  <a:cubicBezTo>
                    <a:pt x="138" y="18"/>
                    <a:pt x="141" y="19"/>
                    <a:pt x="143" y="19"/>
                  </a:cubicBezTo>
                  <a:cubicBezTo>
                    <a:pt x="146" y="19"/>
                    <a:pt x="149" y="14"/>
                    <a:pt x="151" y="6"/>
                  </a:cubicBezTo>
                  <a:lnTo>
                    <a:pt x="16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48"/>
            <p:cNvSpPr>
              <a:spLocks/>
            </p:cNvSpPr>
            <p:nvPr userDrawn="1"/>
          </p:nvSpPr>
          <p:spPr bwMode="auto">
            <a:xfrm>
              <a:off x="8685213" y="5562600"/>
              <a:ext cx="288925" cy="606425"/>
            </a:xfrm>
            <a:custGeom>
              <a:avLst/>
              <a:gdLst>
                <a:gd name="T0" fmla="*/ 90 w 176"/>
                <a:gd name="T1" fmla="*/ 119 h 369"/>
                <a:gd name="T2" fmla="*/ 90 w 176"/>
                <a:gd name="T3" fmla="*/ 278 h 369"/>
                <a:gd name="T4" fmla="*/ 94 w 176"/>
                <a:gd name="T5" fmla="*/ 323 h 369"/>
                <a:gd name="T6" fmla="*/ 122 w 176"/>
                <a:gd name="T7" fmla="*/ 345 h 369"/>
                <a:gd name="T8" fmla="*/ 149 w 176"/>
                <a:gd name="T9" fmla="*/ 326 h 369"/>
                <a:gd name="T10" fmla="*/ 157 w 176"/>
                <a:gd name="T11" fmla="*/ 281 h 369"/>
                <a:gd name="T12" fmla="*/ 157 w 176"/>
                <a:gd name="T13" fmla="*/ 273 h 369"/>
                <a:gd name="T14" fmla="*/ 176 w 176"/>
                <a:gd name="T15" fmla="*/ 273 h 369"/>
                <a:gd name="T16" fmla="*/ 176 w 176"/>
                <a:gd name="T17" fmla="*/ 284 h 369"/>
                <a:gd name="T18" fmla="*/ 159 w 176"/>
                <a:gd name="T19" fmla="*/ 347 h 369"/>
                <a:gd name="T20" fmla="*/ 108 w 176"/>
                <a:gd name="T21" fmla="*/ 369 h 369"/>
                <a:gd name="T22" fmla="*/ 58 w 176"/>
                <a:gd name="T23" fmla="*/ 350 h 369"/>
                <a:gd name="T24" fmla="*/ 43 w 176"/>
                <a:gd name="T25" fmla="*/ 315 h 369"/>
                <a:gd name="T26" fmla="*/ 42 w 176"/>
                <a:gd name="T27" fmla="*/ 278 h 369"/>
                <a:gd name="T28" fmla="*/ 42 w 176"/>
                <a:gd name="T29" fmla="*/ 119 h 369"/>
                <a:gd name="T30" fmla="*/ 0 w 176"/>
                <a:gd name="T31" fmla="*/ 119 h 369"/>
                <a:gd name="T32" fmla="*/ 0 w 176"/>
                <a:gd name="T33" fmla="*/ 103 h 369"/>
                <a:gd name="T34" fmla="*/ 54 w 176"/>
                <a:gd name="T35" fmla="*/ 72 h 369"/>
                <a:gd name="T36" fmla="*/ 74 w 176"/>
                <a:gd name="T37" fmla="*/ 0 h 369"/>
                <a:gd name="T38" fmla="*/ 90 w 176"/>
                <a:gd name="T39" fmla="*/ 0 h 369"/>
                <a:gd name="T40" fmla="*/ 90 w 176"/>
                <a:gd name="T41" fmla="*/ 100 h 369"/>
                <a:gd name="T42" fmla="*/ 167 w 176"/>
                <a:gd name="T43" fmla="*/ 100 h 369"/>
                <a:gd name="T44" fmla="*/ 167 w 176"/>
                <a:gd name="T45" fmla="*/ 119 h 369"/>
                <a:gd name="T46" fmla="*/ 90 w 176"/>
                <a:gd name="T47" fmla="*/ 1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6" h="369">
                  <a:moveTo>
                    <a:pt x="90" y="119"/>
                  </a:moveTo>
                  <a:cubicBezTo>
                    <a:pt x="90" y="278"/>
                    <a:pt x="90" y="278"/>
                    <a:pt x="90" y="278"/>
                  </a:cubicBezTo>
                  <a:cubicBezTo>
                    <a:pt x="90" y="299"/>
                    <a:pt x="92" y="314"/>
                    <a:pt x="94" y="323"/>
                  </a:cubicBezTo>
                  <a:cubicBezTo>
                    <a:pt x="99" y="338"/>
                    <a:pt x="108" y="345"/>
                    <a:pt x="122" y="345"/>
                  </a:cubicBezTo>
                  <a:cubicBezTo>
                    <a:pt x="134" y="345"/>
                    <a:pt x="143" y="339"/>
                    <a:pt x="149" y="326"/>
                  </a:cubicBezTo>
                  <a:cubicBezTo>
                    <a:pt x="154" y="314"/>
                    <a:pt x="157" y="299"/>
                    <a:pt x="157" y="281"/>
                  </a:cubicBezTo>
                  <a:cubicBezTo>
                    <a:pt x="157" y="273"/>
                    <a:pt x="157" y="273"/>
                    <a:pt x="157" y="273"/>
                  </a:cubicBezTo>
                  <a:cubicBezTo>
                    <a:pt x="176" y="273"/>
                    <a:pt x="176" y="273"/>
                    <a:pt x="176" y="273"/>
                  </a:cubicBezTo>
                  <a:cubicBezTo>
                    <a:pt x="176" y="284"/>
                    <a:pt x="176" y="284"/>
                    <a:pt x="176" y="284"/>
                  </a:cubicBezTo>
                  <a:cubicBezTo>
                    <a:pt x="176" y="310"/>
                    <a:pt x="170" y="331"/>
                    <a:pt x="159" y="347"/>
                  </a:cubicBezTo>
                  <a:cubicBezTo>
                    <a:pt x="148" y="362"/>
                    <a:pt x="131" y="369"/>
                    <a:pt x="108" y="369"/>
                  </a:cubicBezTo>
                  <a:cubicBezTo>
                    <a:pt x="85" y="369"/>
                    <a:pt x="69" y="363"/>
                    <a:pt x="58" y="350"/>
                  </a:cubicBezTo>
                  <a:cubicBezTo>
                    <a:pt x="50" y="340"/>
                    <a:pt x="45" y="329"/>
                    <a:pt x="43" y="315"/>
                  </a:cubicBezTo>
                  <a:cubicBezTo>
                    <a:pt x="42" y="305"/>
                    <a:pt x="42" y="293"/>
                    <a:pt x="42" y="278"/>
                  </a:cubicBezTo>
                  <a:cubicBezTo>
                    <a:pt x="42" y="119"/>
                    <a:pt x="42" y="119"/>
                    <a:pt x="42" y="119"/>
                  </a:cubicBezTo>
                  <a:cubicBezTo>
                    <a:pt x="0" y="119"/>
                    <a:pt x="0" y="119"/>
                    <a:pt x="0" y="119"/>
                  </a:cubicBezTo>
                  <a:cubicBezTo>
                    <a:pt x="0" y="103"/>
                    <a:pt x="0" y="103"/>
                    <a:pt x="0" y="103"/>
                  </a:cubicBezTo>
                  <a:cubicBezTo>
                    <a:pt x="27" y="97"/>
                    <a:pt x="45" y="86"/>
                    <a:pt x="54" y="72"/>
                  </a:cubicBezTo>
                  <a:cubicBezTo>
                    <a:pt x="64" y="57"/>
                    <a:pt x="71" y="33"/>
                    <a:pt x="74" y="0"/>
                  </a:cubicBezTo>
                  <a:cubicBezTo>
                    <a:pt x="90" y="0"/>
                    <a:pt x="90" y="0"/>
                    <a:pt x="90" y="0"/>
                  </a:cubicBezTo>
                  <a:cubicBezTo>
                    <a:pt x="90" y="100"/>
                    <a:pt x="90" y="100"/>
                    <a:pt x="90" y="100"/>
                  </a:cubicBezTo>
                  <a:cubicBezTo>
                    <a:pt x="167" y="100"/>
                    <a:pt x="167" y="100"/>
                    <a:pt x="167" y="100"/>
                  </a:cubicBezTo>
                  <a:cubicBezTo>
                    <a:pt x="167" y="119"/>
                    <a:pt x="167" y="119"/>
                    <a:pt x="167" y="119"/>
                  </a:cubicBezTo>
                  <a:lnTo>
                    <a:pt x="90"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49"/>
            <p:cNvSpPr>
              <a:spLocks noEditPoints="1"/>
            </p:cNvSpPr>
            <p:nvPr userDrawn="1"/>
          </p:nvSpPr>
          <p:spPr bwMode="auto">
            <a:xfrm>
              <a:off x="9001125" y="5713413"/>
              <a:ext cx="344488" cy="460375"/>
            </a:xfrm>
            <a:custGeom>
              <a:avLst/>
              <a:gdLst>
                <a:gd name="T0" fmla="*/ 210 w 210"/>
                <a:gd name="T1" fmla="*/ 138 h 280"/>
                <a:gd name="T2" fmla="*/ 53 w 210"/>
                <a:gd name="T3" fmla="*/ 138 h 280"/>
                <a:gd name="T4" fmla="*/ 65 w 210"/>
                <a:gd name="T5" fmla="*/ 220 h 280"/>
                <a:gd name="T6" fmla="*/ 119 w 210"/>
                <a:gd name="T7" fmla="*/ 257 h 280"/>
                <a:gd name="T8" fmla="*/ 168 w 210"/>
                <a:gd name="T9" fmla="*/ 234 h 280"/>
                <a:gd name="T10" fmla="*/ 190 w 210"/>
                <a:gd name="T11" fmla="*/ 198 h 280"/>
                <a:gd name="T12" fmla="*/ 207 w 210"/>
                <a:gd name="T13" fmla="*/ 207 h 280"/>
                <a:gd name="T14" fmla="*/ 110 w 210"/>
                <a:gd name="T15" fmla="*/ 280 h 280"/>
                <a:gd name="T16" fmla="*/ 36 w 210"/>
                <a:gd name="T17" fmla="*/ 249 h 280"/>
                <a:gd name="T18" fmla="*/ 0 w 210"/>
                <a:gd name="T19" fmla="*/ 138 h 280"/>
                <a:gd name="T20" fmla="*/ 36 w 210"/>
                <a:gd name="T21" fmla="*/ 31 h 280"/>
                <a:gd name="T22" fmla="*/ 104 w 210"/>
                <a:gd name="T23" fmla="*/ 0 h 280"/>
                <a:gd name="T24" fmla="*/ 193 w 210"/>
                <a:gd name="T25" fmla="*/ 59 h 280"/>
                <a:gd name="T26" fmla="*/ 210 w 210"/>
                <a:gd name="T27" fmla="*/ 138 h 280"/>
                <a:gd name="T28" fmla="*/ 157 w 210"/>
                <a:gd name="T29" fmla="*/ 118 h 280"/>
                <a:gd name="T30" fmla="*/ 150 w 210"/>
                <a:gd name="T31" fmla="*/ 60 h 280"/>
                <a:gd name="T32" fmla="*/ 107 w 210"/>
                <a:gd name="T33" fmla="*/ 20 h 280"/>
                <a:gd name="T34" fmla="*/ 60 w 210"/>
                <a:gd name="T35" fmla="*/ 69 h 280"/>
                <a:gd name="T36" fmla="*/ 54 w 210"/>
                <a:gd name="T37" fmla="*/ 118 h 280"/>
                <a:gd name="T38" fmla="*/ 157 w 210"/>
                <a:gd name="T39"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80">
                  <a:moveTo>
                    <a:pt x="210" y="138"/>
                  </a:moveTo>
                  <a:cubicBezTo>
                    <a:pt x="53" y="138"/>
                    <a:pt x="53" y="138"/>
                    <a:pt x="53" y="138"/>
                  </a:cubicBezTo>
                  <a:cubicBezTo>
                    <a:pt x="54" y="175"/>
                    <a:pt x="58" y="202"/>
                    <a:pt x="65" y="220"/>
                  </a:cubicBezTo>
                  <a:cubicBezTo>
                    <a:pt x="75" y="245"/>
                    <a:pt x="93" y="257"/>
                    <a:pt x="119" y="257"/>
                  </a:cubicBezTo>
                  <a:cubicBezTo>
                    <a:pt x="139" y="257"/>
                    <a:pt x="155" y="249"/>
                    <a:pt x="168" y="234"/>
                  </a:cubicBezTo>
                  <a:cubicBezTo>
                    <a:pt x="176" y="225"/>
                    <a:pt x="183" y="213"/>
                    <a:pt x="190" y="198"/>
                  </a:cubicBezTo>
                  <a:cubicBezTo>
                    <a:pt x="207" y="207"/>
                    <a:pt x="207" y="207"/>
                    <a:pt x="207" y="207"/>
                  </a:cubicBezTo>
                  <a:cubicBezTo>
                    <a:pt x="183" y="256"/>
                    <a:pt x="151" y="280"/>
                    <a:pt x="110" y="280"/>
                  </a:cubicBezTo>
                  <a:cubicBezTo>
                    <a:pt x="80" y="280"/>
                    <a:pt x="55" y="269"/>
                    <a:pt x="36" y="249"/>
                  </a:cubicBezTo>
                  <a:cubicBezTo>
                    <a:pt x="12" y="223"/>
                    <a:pt x="0" y="186"/>
                    <a:pt x="0" y="138"/>
                  </a:cubicBezTo>
                  <a:cubicBezTo>
                    <a:pt x="0" y="94"/>
                    <a:pt x="12" y="58"/>
                    <a:pt x="36" y="31"/>
                  </a:cubicBezTo>
                  <a:cubicBezTo>
                    <a:pt x="55" y="10"/>
                    <a:pt x="77" y="0"/>
                    <a:pt x="104" y="0"/>
                  </a:cubicBezTo>
                  <a:cubicBezTo>
                    <a:pt x="143" y="0"/>
                    <a:pt x="173" y="19"/>
                    <a:pt x="193" y="59"/>
                  </a:cubicBezTo>
                  <a:cubicBezTo>
                    <a:pt x="203" y="80"/>
                    <a:pt x="209" y="106"/>
                    <a:pt x="210" y="138"/>
                  </a:cubicBezTo>
                  <a:close/>
                  <a:moveTo>
                    <a:pt x="157" y="118"/>
                  </a:moveTo>
                  <a:cubicBezTo>
                    <a:pt x="157" y="94"/>
                    <a:pt x="155" y="75"/>
                    <a:pt x="150" y="60"/>
                  </a:cubicBezTo>
                  <a:cubicBezTo>
                    <a:pt x="141" y="33"/>
                    <a:pt x="126" y="20"/>
                    <a:pt x="107" y="20"/>
                  </a:cubicBezTo>
                  <a:cubicBezTo>
                    <a:pt x="85" y="20"/>
                    <a:pt x="69" y="36"/>
                    <a:pt x="60" y="69"/>
                  </a:cubicBezTo>
                  <a:cubicBezTo>
                    <a:pt x="56" y="82"/>
                    <a:pt x="54" y="99"/>
                    <a:pt x="54" y="118"/>
                  </a:cubicBezTo>
                  <a:lnTo>
                    <a:pt x="157"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50"/>
            <p:cNvSpPr>
              <a:spLocks/>
            </p:cNvSpPr>
            <p:nvPr userDrawn="1"/>
          </p:nvSpPr>
          <p:spPr bwMode="auto">
            <a:xfrm>
              <a:off x="9378950" y="5716588"/>
              <a:ext cx="649288" cy="442913"/>
            </a:xfrm>
            <a:custGeom>
              <a:avLst/>
              <a:gdLst>
                <a:gd name="T0" fmla="*/ 312 w 396"/>
                <a:gd name="T1" fmla="*/ 270 h 270"/>
                <a:gd name="T2" fmla="*/ 312 w 396"/>
                <a:gd name="T3" fmla="*/ 108 h 270"/>
                <a:gd name="T4" fmla="*/ 305 w 396"/>
                <a:gd name="T5" fmla="*/ 44 h 270"/>
                <a:gd name="T6" fmla="*/ 275 w 396"/>
                <a:gd name="T7" fmla="*/ 25 h 270"/>
                <a:gd name="T8" fmla="*/ 236 w 396"/>
                <a:gd name="T9" fmla="*/ 52 h 270"/>
                <a:gd name="T10" fmla="*/ 225 w 396"/>
                <a:gd name="T11" fmla="*/ 84 h 270"/>
                <a:gd name="T12" fmla="*/ 223 w 396"/>
                <a:gd name="T13" fmla="*/ 134 h 270"/>
                <a:gd name="T14" fmla="*/ 223 w 396"/>
                <a:gd name="T15" fmla="*/ 205 h 270"/>
                <a:gd name="T16" fmla="*/ 230 w 396"/>
                <a:gd name="T17" fmla="*/ 245 h 270"/>
                <a:gd name="T18" fmla="*/ 252 w 396"/>
                <a:gd name="T19" fmla="*/ 252 h 270"/>
                <a:gd name="T20" fmla="*/ 261 w 396"/>
                <a:gd name="T21" fmla="*/ 252 h 270"/>
                <a:gd name="T22" fmla="*/ 261 w 396"/>
                <a:gd name="T23" fmla="*/ 270 h 270"/>
                <a:gd name="T24" fmla="*/ 175 w 396"/>
                <a:gd name="T25" fmla="*/ 270 h 270"/>
                <a:gd name="T26" fmla="*/ 175 w 396"/>
                <a:gd name="T27" fmla="*/ 117 h 270"/>
                <a:gd name="T28" fmla="*/ 173 w 396"/>
                <a:gd name="T29" fmla="*/ 66 h 270"/>
                <a:gd name="T30" fmla="*/ 137 w 396"/>
                <a:gd name="T31" fmla="*/ 25 h 270"/>
                <a:gd name="T32" fmla="*/ 99 w 396"/>
                <a:gd name="T33" fmla="*/ 53 h 270"/>
                <a:gd name="T34" fmla="*/ 89 w 396"/>
                <a:gd name="T35" fmla="*/ 81 h 270"/>
                <a:gd name="T36" fmla="*/ 86 w 396"/>
                <a:gd name="T37" fmla="*/ 134 h 270"/>
                <a:gd name="T38" fmla="*/ 86 w 396"/>
                <a:gd name="T39" fmla="*/ 205 h 270"/>
                <a:gd name="T40" fmla="*/ 93 w 396"/>
                <a:gd name="T41" fmla="*/ 245 h 270"/>
                <a:gd name="T42" fmla="*/ 116 w 396"/>
                <a:gd name="T43" fmla="*/ 252 h 270"/>
                <a:gd name="T44" fmla="*/ 124 w 396"/>
                <a:gd name="T45" fmla="*/ 252 h 270"/>
                <a:gd name="T46" fmla="*/ 124 w 396"/>
                <a:gd name="T47" fmla="*/ 270 h 270"/>
                <a:gd name="T48" fmla="*/ 0 w 396"/>
                <a:gd name="T49" fmla="*/ 270 h 270"/>
                <a:gd name="T50" fmla="*/ 0 w 396"/>
                <a:gd name="T51" fmla="*/ 252 h 270"/>
                <a:gd name="T52" fmla="*/ 9 w 396"/>
                <a:gd name="T53" fmla="*/ 252 h 270"/>
                <a:gd name="T54" fmla="*/ 31 w 396"/>
                <a:gd name="T55" fmla="*/ 245 h 270"/>
                <a:gd name="T56" fmla="*/ 38 w 396"/>
                <a:gd name="T57" fmla="*/ 205 h 270"/>
                <a:gd name="T58" fmla="*/ 38 w 396"/>
                <a:gd name="T59" fmla="*/ 69 h 270"/>
                <a:gd name="T60" fmla="*/ 31 w 396"/>
                <a:gd name="T61" fmla="*/ 30 h 270"/>
                <a:gd name="T62" fmla="*/ 9 w 396"/>
                <a:gd name="T63" fmla="*/ 24 h 270"/>
                <a:gd name="T64" fmla="*/ 2 w 396"/>
                <a:gd name="T65" fmla="*/ 24 h 270"/>
                <a:gd name="T66" fmla="*/ 2 w 396"/>
                <a:gd name="T67" fmla="*/ 6 h 270"/>
                <a:gd name="T68" fmla="*/ 83 w 396"/>
                <a:gd name="T69" fmla="*/ 2 h 270"/>
                <a:gd name="T70" fmla="*/ 83 w 396"/>
                <a:gd name="T71" fmla="*/ 49 h 270"/>
                <a:gd name="T72" fmla="*/ 99 w 396"/>
                <a:gd name="T73" fmla="*/ 23 h 270"/>
                <a:gd name="T74" fmla="*/ 150 w 396"/>
                <a:gd name="T75" fmla="*/ 0 h 270"/>
                <a:gd name="T76" fmla="*/ 217 w 396"/>
                <a:gd name="T77" fmla="*/ 52 h 270"/>
                <a:gd name="T78" fmla="*/ 288 w 396"/>
                <a:gd name="T79" fmla="*/ 0 h 270"/>
                <a:gd name="T80" fmla="*/ 346 w 396"/>
                <a:gd name="T81" fmla="*/ 30 h 270"/>
                <a:gd name="T82" fmla="*/ 358 w 396"/>
                <a:gd name="T83" fmla="*/ 66 h 270"/>
                <a:gd name="T84" fmla="*/ 360 w 396"/>
                <a:gd name="T85" fmla="*/ 102 h 270"/>
                <a:gd name="T86" fmla="*/ 360 w 396"/>
                <a:gd name="T87" fmla="*/ 205 h 270"/>
                <a:gd name="T88" fmla="*/ 367 w 396"/>
                <a:gd name="T89" fmla="*/ 245 h 270"/>
                <a:gd name="T90" fmla="*/ 389 w 396"/>
                <a:gd name="T91" fmla="*/ 252 h 270"/>
                <a:gd name="T92" fmla="*/ 396 w 396"/>
                <a:gd name="T93" fmla="*/ 252 h 270"/>
                <a:gd name="T94" fmla="*/ 396 w 396"/>
                <a:gd name="T95" fmla="*/ 270 h 270"/>
                <a:gd name="T96" fmla="*/ 312 w 396"/>
                <a:gd name="T97"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6" h="270">
                  <a:moveTo>
                    <a:pt x="312" y="270"/>
                  </a:moveTo>
                  <a:cubicBezTo>
                    <a:pt x="312" y="108"/>
                    <a:pt x="312" y="108"/>
                    <a:pt x="312" y="108"/>
                  </a:cubicBezTo>
                  <a:cubicBezTo>
                    <a:pt x="312" y="75"/>
                    <a:pt x="309" y="54"/>
                    <a:pt x="305" y="44"/>
                  </a:cubicBezTo>
                  <a:cubicBezTo>
                    <a:pt x="298" y="31"/>
                    <a:pt x="288" y="25"/>
                    <a:pt x="275" y="25"/>
                  </a:cubicBezTo>
                  <a:cubicBezTo>
                    <a:pt x="259" y="25"/>
                    <a:pt x="246" y="34"/>
                    <a:pt x="236" y="52"/>
                  </a:cubicBezTo>
                  <a:cubicBezTo>
                    <a:pt x="231" y="62"/>
                    <a:pt x="227" y="73"/>
                    <a:pt x="225" y="84"/>
                  </a:cubicBezTo>
                  <a:cubicBezTo>
                    <a:pt x="224" y="93"/>
                    <a:pt x="223" y="109"/>
                    <a:pt x="223" y="134"/>
                  </a:cubicBezTo>
                  <a:cubicBezTo>
                    <a:pt x="223" y="205"/>
                    <a:pt x="223" y="205"/>
                    <a:pt x="223" y="205"/>
                  </a:cubicBezTo>
                  <a:cubicBezTo>
                    <a:pt x="223" y="226"/>
                    <a:pt x="226" y="240"/>
                    <a:pt x="230" y="245"/>
                  </a:cubicBezTo>
                  <a:cubicBezTo>
                    <a:pt x="234" y="250"/>
                    <a:pt x="242" y="252"/>
                    <a:pt x="252" y="252"/>
                  </a:cubicBezTo>
                  <a:cubicBezTo>
                    <a:pt x="261" y="252"/>
                    <a:pt x="261" y="252"/>
                    <a:pt x="261" y="252"/>
                  </a:cubicBezTo>
                  <a:cubicBezTo>
                    <a:pt x="261" y="270"/>
                    <a:pt x="261" y="270"/>
                    <a:pt x="261" y="270"/>
                  </a:cubicBezTo>
                  <a:cubicBezTo>
                    <a:pt x="175" y="270"/>
                    <a:pt x="175" y="270"/>
                    <a:pt x="175" y="270"/>
                  </a:cubicBezTo>
                  <a:cubicBezTo>
                    <a:pt x="175" y="117"/>
                    <a:pt x="175" y="117"/>
                    <a:pt x="175" y="117"/>
                  </a:cubicBezTo>
                  <a:cubicBezTo>
                    <a:pt x="175" y="91"/>
                    <a:pt x="174" y="74"/>
                    <a:pt x="173" y="66"/>
                  </a:cubicBezTo>
                  <a:cubicBezTo>
                    <a:pt x="169" y="39"/>
                    <a:pt x="157" y="25"/>
                    <a:pt x="137" y="25"/>
                  </a:cubicBezTo>
                  <a:cubicBezTo>
                    <a:pt x="121" y="25"/>
                    <a:pt x="108" y="34"/>
                    <a:pt x="99" y="53"/>
                  </a:cubicBezTo>
                  <a:cubicBezTo>
                    <a:pt x="94" y="62"/>
                    <a:pt x="91" y="71"/>
                    <a:pt x="89" y="81"/>
                  </a:cubicBezTo>
                  <a:cubicBezTo>
                    <a:pt x="87" y="91"/>
                    <a:pt x="86" y="108"/>
                    <a:pt x="86" y="134"/>
                  </a:cubicBezTo>
                  <a:cubicBezTo>
                    <a:pt x="86" y="205"/>
                    <a:pt x="86" y="205"/>
                    <a:pt x="86" y="205"/>
                  </a:cubicBezTo>
                  <a:cubicBezTo>
                    <a:pt x="86" y="227"/>
                    <a:pt x="89" y="240"/>
                    <a:pt x="93" y="245"/>
                  </a:cubicBezTo>
                  <a:cubicBezTo>
                    <a:pt x="97" y="250"/>
                    <a:pt x="105" y="252"/>
                    <a:pt x="116" y="252"/>
                  </a:cubicBezTo>
                  <a:cubicBezTo>
                    <a:pt x="124" y="252"/>
                    <a:pt x="124" y="252"/>
                    <a:pt x="124" y="252"/>
                  </a:cubicBezTo>
                  <a:cubicBezTo>
                    <a:pt x="124" y="270"/>
                    <a:pt x="124" y="270"/>
                    <a:pt x="124" y="270"/>
                  </a:cubicBezTo>
                  <a:cubicBezTo>
                    <a:pt x="0" y="270"/>
                    <a:pt x="0" y="270"/>
                    <a:pt x="0" y="270"/>
                  </a:cubicBezTo>
                  <a:cubicBezTo>
                    <a:pt x="0" y="252"/>
                    <a:pt x="0" y="252"/>
                    <a:pt x="0" y="252"/>
                  </a:cubicBezTo>
                  <a:cubicBezTo>
                    <a:pt x="9" y="252"/>
                    <a:pt x="9" y="252"/>
                    <a:pt x="9" y="252"/>
                  </a:cubicBezTo>
                  <a:cubicBezTo>
                    <a:pt x="19" y="252"/>
                    <a:pt x="27" y="250"/>
                    <a:pt x="31" y="245"/>
                  </a:cubicBezTo>
                  <a:cubicBezTo>
                    <a:pt x="36" y="240"/>
                    <a:pt x="38" y="226"/>
                    <a:pt x="38" y="205"/>
                  </a:cubicBezTo>
                  <a:cubicBezTo>
                    <a:pt x="38" y="69"/>
                    <a:pt x="38" y="69"/>
                    <a:pt x="38" y="69"/>
                  </a:cubicBezTo>
                  <a:cubicBezTo>
                    <a:pt x="38" y="49"/>
                    <a:pt x="36" y="36"/>
                    <a:pt x="31" y="30"/>
                  </a:cubicBezTo>
                  <a:cubicBezTo>
                    <a:pt x="27" y="26"/>
                    <a:pt x="19" y="24"/>
                    <a:pt x="9" y="24"/>
                  </a:cubicBezTo>
                  <a:cubicBezTo>
                    <a:pt x="2" y="24"/>
                    <a:pt x="2" y="24"/>
                    <a:pt x="2" y="24"/>
                  </a:cubicBezTo>
                  <a:cubicBezTo>
                    <a:pt x="2" y="6"/>
                    <a:pt x="2" y="6"/>
                    <a:pt x="2" y="6"/>
                  </a:cubicBezTo>
                  <a:cubicBezTo>
                    <a:pt x="83" y="2"/>
                    <a:pt x="83" y="2"/>
                    <a:pt x="83" y="2"/>
                  </a:cubicBezTo>
                  <a:cubicBezTo>
                    <a:pt x="83" y="49"/>
                    <a:pt x="83" y="49"/>
                    <a:pt x="83" y="49"/>
                  </a:cubicBezTo>
                  <a:cubicBezTo>
                    <a:pt x="87" y="39"/>
                    <a:pt x="92" y="31"/>
                    <a:pt x="99" y="23"/>
                  </a:cubicBezTo>
                  <a:cubicBezTo>
                    <a:pt x="113" y="8"/>
                    <a:pt x="130" y="0"/>
                    <a:pt x="150" y="0"/>
                  </a:cubicBezTo>
                  <a:cubicBezTo>
                    <a:pt x="181" y="0"/>
                    <a:pt x="203" y="18"/>
                    <a:pt x="217" y="52"/>
                  </a:cubicBezTo>
                  <a:cubicBezTo>
                    <a:pt x="234" y="18"/>
                    <a:pt x="257" y="0"/>
                    <a:pt x="288" y="0"/>
                  </a:cubicBezTo>
                  <a:cubicBezTo>
                    <a:pt x="314" y="0"/>
                    <a:pt x="333" y="10"/>
                    <a:pt x="346" y="30"/>
                  </a:cubicBezTo>
                  <a:cubicBezTo>
                    <a:pt x="353" y="41"/>
                    <a:pt x="357" y="53"/>
                    <a:pt x="358" y="66"/>
                  </a:cubicBezTo>
                  <a:cubicBezTo>
                    <a:pt x="359" y="77"/>
                    <a:pt x="360" y="89"/>
                    <a:pt x="360" y="102"/>
                  </a:cubicBezTo>
                  <a:cubicBezTo>
                    <a:pt x="360" y="205"/>
                    <a:pt x="360" y="205"/>
                    <a:pt x="360" y="205"/>
                  </a:cubicBezTo>
                  <a:cubicBezTo>
                    <a:pt x="360" y="226"/>
                    <a:pt x="362" y="240"/>
                    <a:pt x="367" y="245"/>
                  </a:cubicBezTo>
                  <a:cubicBezTo>
                    <a:pt x="371" y="250"/>
                    <a:pt x="378" y="252"/>
                    <a:pt x="389" y="252"/>
                  </a:cubicBezTo>
                  <a:cubicBezTo>
                    <a:pt x="396" y="252"/>
                    <a:pt x="396" y="252"/>
                    <a:pt x="396" y="252"/>
                  </a:cubicBezTo>
                  <a:cubicBezTo>
                    <a:pt x="396" y="270"/>
                    <a:pt x="396" y="270"/>
                    <a:pt x="396" y="270"/>
                  </a:cubicBezTo>
                  <a:lnTo>
                    <a:pt x="312" y="2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51"/>
            <p:cNvSpPr>
              <a:spLocks/>
            </p:cNvSpPr>
            <p:nvPr userDrawn="1"/>
          </p:nvSpPr>
          <p:spPr bwMode="auto">
            <a:xfrm>
              <a:off x="10071100" y="5716588"/>
              <a:ext cx="301625" cy="452438"/>
            </a:xfrm>
            <a:custGeom>
              <a:avLst/>
              <a:gdLst>
                <a:gd name="T0" fmla="*/ 168 w 184"/>
                <a:gd name="T1" fmla="*/ 6 h 275"/>
                <a:gd name="T2" fmla="*/ 168 w 184"/>
                <a:gd name="T3" fmla="*/ 89 h 275"/>
                <a:gd name="T4" fmla="*/ 151 w 184"/>
                <a:gd name="T5" fmla="*/ 89 h 275"/>
                <a:gd name="T6" fmla="*/ 84 w 184"/>
                <a:gd name="T7" fmla="*/ 17 h 275"/>
                <a:gd name="T8" fmla="*/ 53 w 184"/>
                <a:gd name="T9" fmla="*/ 28 h 275"/>
                <a:gd name="T10" fmla="*/ 41 w 184"/>
                <a:gd name="T11" fmla="*/ 57 h 275"/>
                <a:gd name="T12" fmla="*/ 58 w 184"/>
                <a:gd name="T13" fmla="*/ 88 h 275"/>
                <a:gd name="T14" fmla="*/ 88 w 184"/>
                <a:gd name="T15" fmla="*/ 101 h 275"/>
                <a:gd name="T16" fmla="*/ 152 w 184"/>
                <a:gd name="T17" fmla="*/ 128 h 275"/>
                <a:gd name="T18" fmla="*/ 184 w 184"/>
                <a:gd name="T19" fmla="*/ 191 h 275"/>
                <a:gd name="T20" fmla="*/ 156 w 184"/>
                <a:gd name="T21" fmla="*/ 255 h 275"/>
                <a:gd name="T22" fmla="*/ 98 w 184"/>
                <a:gd name="T23" fmla="*/ 275 h 275"/>
                <a:gd name="T24" fmla="*/ 59 w 184"/>
                <a:gd name="T25" fmla="*/ 268 h 275"/>
                <a:gd name="T26" fmla="*/ 33 w 184"/>
                <a:gd name="T27" fmla="*/ 254 h 275"/>
                <a:gd name="T28" fmla="*/ 26 w 184"/>
                <a:gd name="T29" fmla="*/ 252 h 275"/>
                <a:gd name="T30" fmla="*/ 16 w 184"/>
                <a:gd name="T31" fmla="*/ 270 h 275"/>
                <a:gd name="T32" fmla="*/ 0 w 184"/>
                <a:gd name="T33" fmla="*/ 270 h 275"/>
                <a:gd name="T34" fmla="*/ 0 w 184"/>
                <a:gd name="T35" fmla="*/ 172 h 275"/>
                <a:gd name="T36" fmla="*/ 16 w 184"/>
                <a:gd name="T37" fmla="*/ 172 h 275"/>
                <a:gd name="T38" fmla="*/ 37 w 184"/>
                <a:gd name="T39" fmla="*/ 224 h 275"/>
                <a:gd name="T40" fmla="*/ 63 w 184"/>
                <a:gd name="T41" fmla="*/ 248 h 275"/>
                <a:gd name="T42" fmla="*/ 97 w 184"/>
                <a:gd name="T43" fmla="*/ 257 h 275"/>
                <a:gd name="T44" fmla="*/ 131 w 184"/>
                <a:gd name="T45" fmla="*/ 242 h 275"/>
                <a:gd name="T46" fmla="*/ 144 w 184"/>
                <a:gd name="T47" fmla="*/ 210 h 275"/>
                <a:gd name="T48" fmla="*/ 120 w 184"/>
                <a:gd name="T49" fmla="*/ 170 h 275"/>
                <a:gd name="T50" fmla="*/ 69 w 184"/>
                <a:gd name="T51" fmla="*/ 149 h 275"/>
                <a:gd name="T52" fmla="*/ 28 w 184"/>
                <a:gd name="T53" fmla="*/ 128 h 275"/>
                <a:gd name="T54" fmla="*/ 2 w 184"/>
                <a:gd name="T55" fmla="*/ 72 h 275"/>
                <a:gd name="T56" fmla="*/ 26 w 184"/>
                <a:gd name="T57" fmla="*/ 19 h 275"/>
                <a:gd name="T58" fmla="*/ 80 w 184"/>
                <a:gd name="T59" fmla="*/ 0 h 275"/>
                <a:gd name="T60" fmla="*/ 134 w 184"/>
                <a:gd name="T61" fmla="*/ 16 h 275"/>
                <a:gd name="T62" fmla="*/ 142 w 184"/>
                <a:gd name="T63" fmla="*/ 19 h 275"/>
                <a:gd name="T64" fmla="*/ 151 w 184"/>
                <a:gd name="T65" fmla="*/ 6 h 275"/>
                <a:gd name="T66" fmla="*/ 168 w 184"/>
                <a:gd name="T67" fmla="*/ 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75">
                  <a:moveTo>
                    <a:pt x="168" y="6"/>
                  </a:moveTo>
                  <a:cubicBezTo>
                    <a:pt x="168" y="89"/>
                    <a:pt x="168" y="89"/>
                    <a:pt x="168" y="89"/>
                  </a:cubicBezTo>
                  <a:cubicBezTo>
                    <a:pt x="151" y="89"/>
                    <a:pt x="151" y="89"/>
                    <a:pt x="151" y="89"/>
                  </a:cubicBezTo>
                  <a:cubicBezTo>
                    <a:pt x="141" y="41"/>
                    <a:pt x="119" y="17"/>
                    <a:pt x="84" y="17"/>
                  </a:cubicBezTo>
                  <a:cubicBezTo>
                    <a:pt x="71" y="17"/>
                    <a:pt x="61" y="21"/>
                    <a:pt x="53" y="28"/>
                  </a:cubicBezTo>
                  <a:cubicBezTo>
                    <a:pt x="45" y="36"/>
                    <a:pt x="41" y="46"/>
                    <a:pt x="41" y="57"/>
                  </a:cubicBezTo>
                  <a:cubicBezTo>
                    <a:pt x="41" y="70"/>
                    <a:pt x="46" y="80"/>
                    <a:pt x="58" y="88"/>
                  </a:cubicBezTo>
                  <a:cubicBezTo>
                    <a:pt x="63" y="92"/>
                    <a:pt x="74" y="96"/>
                    <a:pt x="88" y="101"/>
                  </a:cubicBezTo>
                  <a:cubicBezTo>
                    <a:pt x="120" y="111"/>
                    <a:pt x="142" y="120"/>
                    <a:pt x="152" y="128"/>
                  </a:cubicBezTo>
                  <a:cubicBezTo>
                    <a:pt x="173" y="144"/>
                    <a:pt x="184" y="165"/>
                    <a:pt x="184" y="191"/>
                  </a:cubicBezTo>
                  <a:cubicBezTo>
                    <a:pt x="184" y="217"/>
                    <a:pt x="175" y="238"/>
                    <a:pt x="156" y="255"/>
                  </a:cubicBezTo>
                  <a:cubicBezTo>
                    <a:pt x="141" y="269"/>
                    <a:pt x="121" y="275"/>
                    <a:pt x="98" y="275"/>
                  </a:cubicBezTo>
                  <a:cubicBezTo>
                    <a:pt x="84" y="275"/>
                    <a:pt x="71" y="273"/>
                    <a:pt x="59" y="268"/>
                  </a:cubicBezTo>
                  <a:cubicBezTo>
                    <a:pt x="55" y="266"/>
                    <a:pt x="46" y="262"/>
                    <a:pt x="33" y="254"/>
                  </a:cubicBezTo>
                  <a:cubicBezTo>
                    <a:pt x="31" y="253"/>
                    <a:pt x="28" y="252"/>
                    <a:pt x="26" y="252"/>
                  </a:cubicBezTo>
                  <a:cubicBezTo>
                    <a:pt x="23" y="252"/>
                    <a:pt x="19" y="258"/>
                    <a:pt x="16" y="270"/>
                  </a:cubicBezTo>
                  <a:cubicBezTo>
                    <a:pt x="0" y="270"/>
                    <a:pt x="0" y="270"/>
                    <a:pt x="0" y="270"/>
                  </a:cubicBezTo>
                  <a:cubicBezTo>
                    <a:pt x="0" y="172"/>
                    <a:pt x="0" y="172"/>
                    <a:pt x="0" y="172"/>
                  </a:cubicBezTo>
                  <a:cubicBezTo>
                    <a:pt x="16" y="172"/>
                    <a:pt x="16" y="172"/>
                    <a:pt x="16" y="172"/>
                  </a:cubicBezTo>
                  <a:cubicBezTo>
                    <a:pt x="22" y="196"/>
                    <a:pt x="29" y="214"/>
                    <a:pt x="37" y="224"/>
                  </a:cubicBezTo>
                  <a:cubicBezTo>
                    <a:pt x="44" y="234"/>
                    <a:pt x="52" y="242"/>
                    <a:pt x="63" y="248"/>
                  </a:cubicBezTo>
                  <a:cubicBezTo>
                    <a:pt x="74" y="254"/>
                    <a:pt x="85" y="257"/>
                    <a:pt x="97" y="257"/>
                  </a:cubicBezTo>
                  <a:cubicBezTo>
                    <a:pt x="112" y="257"/>
                    <a:pt x="123" y="252"/>
                    <a:pt x="131" y="242"/>
                  </a:cubicBezTo>
                  <a:cubicBezTo>
                    <a:pt x="139" y="233"/>
                    <a:pt x="144" y="222"/>
                    <a:pt x="144" y="210"/>
                  </a:cubicBezTo>
                  <a:cubicBezTo>
                    <a:pt x="144" y="193"/>
                    <a:pt x="136" y="179"/>
                    <a:pt x="120" y="170"/>
                  </a:cubicBezTo>
                  <a:cubicBezTo>
                    <a:pt x="112" y="164"/>
                    <a:pt x="95" y="158"/>
                    <a:pt x="69" y="149"/>
                  </a:cubicBezTo>
                  <a:cubicBezTo>
                    <a:pt x="52" y="144"/>
                    <a:pt x="39" y="137"/>
                    <a:pt x="28" y="128"/>
                  </a:cubicBezTo>
                  <a:cubicBezTo>
                    <a:pt x="11" y="115"/>
                    <a:pt x="2" y="97"/>
                    <a:pt x="2" y="72"/>
                  </a:cubicBezTo>
                  <a:cubicBezTo>
                    <a:pt x="2" y="50"/>
                    <a:pt x="10" y="32"/>
                    <a:pt x="26" y="19"/>
                  </a:cubicBezTo>
                  <a:cubicBezTo>
                    <a:pt x="40" y="6"/>
                    <a:pt x="58" y="0"/>
                    <a:pt x="80" y="0"/>
                  </a:cubicBezTo>
                  <a:cubicBezTo>
                    <a:pt x="99" y="0"/>
                    <a:pt x="117" y="5"/>
                    <a:pt x="134" y="16"/>
                  </a:cubicBezTo>
                  <a:cubicBezTo>
                    <a:pt x="138" y="18"/>
                    <a:pt x="140" y="19"/>
                    <a:pt x="142" y="19"/>
                  </a:cubicBezTo>
                  <a:cubicBezTo>
                    <a:pt x="146" y="19"/>
                    <a:pt x="149" y="14"/>
                    <a:pt x="151" y="6"/>
                  </a:cubicBezTo>
                  <a:lnTo>
                    <a:pt x="16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52"/>
            <p:cNvSpPr>
              <a:spLocks/>
            </p:cNvSpPr>
            <p:nvPr userDrawn="1"/>
          </p:nvSpPr>
          <p:spPr bwMode="auto">
            <a:xfrm>
              <a:off x="10472738" y="5807075"/>
              <a:ext cx="131763" cy="133350"/>
            </a:xfrm>
            <a:custGeom>
              <a:avLst/>
              <a:gdLst>
                <a:gd name="T0" fmla="*/ 0 w 83"/>
                <a:gd name="T1" fmla="*/ 84 h 84"/>
                <a:gd name="T2" fmla="*/ 0 w 83"/>
                <a:gd name="T3" fmla="*/ 0 h 84"/>
                <a:gd name="T4" fmla="*/ 46 w 83"/>
                <a:gd name="T5" fmla="*/ 0 h 84"/>
                <a:gd name="T6" fmla="*/ 83 w 83"/>
                <a:gd name="T7" fmla="*/ 0 h 84"/>
                <a:gd name="T8" fmla="*/ 83 w 83"/>
                <a:gd name="T9" fmla="*/ 84 h 84"/>
                <a:gd name="T10" fmla="*/ 0 w 83"/>
                <a:gd name="T11" fmla="*/ 84 h 84"/>
              </a:gdLst>
              <a:ahLst/>
              <a:cxnLst>
                <a:cxn ang="0">
                  <a:pos x="T0" y="T1"/>
                </a:cxn>
                <a:cxn ang="0">
                  <a:pos x="T2" y="T3"/>
                </a:cxn>
                <a:cxn ang="0">
                  <a:pos x="T4" y="T5"/>
                </a:cxn>
                <a:cxn ang="0">
                  <a:pos x="T6" y="T7"/>
                </a:cxn>
                <a:cxn ang="0">
                  <a:pos x="T8" y="T9"/>
                </a:cxn>
                <a:cxn ang="0">
                  <a:pos x="T10" y="T11"/>
                </a:cxn>
              </a:cxnLst>
              <a:rect l="0" t="0" r="r" b="b"/>
              <a:pathLst>
                <a:path w="83" h="84">
                  <a:moveTo>
                    <a:pt x="0" y="84"/>
                  </a:moveTo>
                  <a:lnTo>
                    <a:pt x="0" y="0"/>
                  </a:lnTo>
                  <a:lnTo>
                    <a:pt x="46" y="0"/>
                  </a:lnTo>
                  <a:lnTo>
                    <a:pt x="83" y="0"/>
                  </a:lnTo>
                  <a:lnTo>
                    <a:pt x="83" y="84"/>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97932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2"/>
        </a:solidFill>
        <a:effectLst/>
      </p:bgPr>
    </p:bg>
    <p:spTree>
      <p:nvGrpSpPr>
        <p:cNvPr id="1" name=""/>
        <p:cNvGrpSpPr/>
        <p:nvPr/>
      </p:nvGrpSpPr>
      <p:grpSpPr>
        <a:xfrm>
          <a:off x="0" y="0"/>
          <a:ext cx="0" cy="0"/>
          <a:chOff x="0" y="0"/>
          <a:chExt cx="0" cy="0"/>
        </a:xfrm>
      </p:grpSpPr>
      <p:sp>
        <p:nvSpPr>
          <p:cNvPr id="9" name="Titelplatzhalter 1"/>
          <p:cNvSpPr>
            <a:spLocks noGrp="1"/>
          </p:cNvSpPr>
          <p:nvPr>
            <p:ph type="ctrTitle" hasCustomPrompt="1"/>
          </p:nvPr>
        </p:nvSpPr>
        <p:spPr bwMode="black">
          <a:xfrm>
            <a:off x="323851" y="323850"/>
            <a:ext cx="10874374" cy="830997"/>
          </a:xfrm>
          <a:noFill/>
        </p:spPr>
        <p:txBody>
          <a:bodyPr wrap="square" lIns="0" tIns="0">
            <a:spAutoFit/>
          </a:bodyPr>
          <a:lstStyle>
            <a:lvl1pPr>
              <a:defRPr sz="6000" baseline="0" smtClean="0">
                <a:solidFill>
                  <a:schemeClr val="bg1"/>
                </a:solidFill>
                <a:latin typeface="TeleGrotesk Headline Ultra" pitchFamily="2" charset="0"/>
              </a:defRPr>
            </a:lvl1pPr>
          </a:lstStyle>
          <a:p>
            <a:r>
              <a:rPr lang="en-US" dirty="0" smtClean="0"/>
              <a:t>Content/Agenda</a:t>
            </a:r>
          </a:p>
        </p:txBody>
      </p:sp>
    </p:spTree>
    <p:extLst>
      <p:ext uri="{BB962C8B-B14F-4D97-AF65-F5344CB8AC3E}">
        <p14:creationId xmlns:p14="http://schemas.microsoft.com/office/powerpoint/2010/main" val="5341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vertical">
    <p:bg>
      <p:bgPr>
        <a:blipFill dpi="0" rotWithShape="1">
          <a:blip r:embed="rId4">
            <a:lum/>
          </a:blip>
          <a:srcRect/>
          <a:stretch>
            <a:fillRect l="-40000" r="40000"/>
          </a:stretch>
        </a:blip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2" name="think-cell Folie" r:id="rId5" imgW="360" imgH="360" progId="TCLayout.ActiveDocument.1">
                  <p:embed/>
                </p:oleObj>
              </mc:Choice>
              <mc:Fallback>
                <p:oleObj name="think-cell Folie" r:id="rId5" imgW="360" imgH="360" progId="TCLayout.ActiveDocument.1">
                  <p:embed/>
                  <p:pic>
                    <p:nvPicPr>
                      <p:cNvPr id="3" name="Objek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userDrawn="1"/>
        </p:nvSpPr>
        <p:spPr bwMode="white">
          <a:xfrm>
            <a:off x="5760890" y="0"/>
            <a:ext cx="5761186" cy="6480175"/>
          </a:xfrm>
          <a:prstGeom prst="rect">
            <a:avLst/>
          </a:prstGeom>
          <a:solidFill>
            <a:schemeClr val="bg1"/>
          </a:solidFill>
          <a:ln w="19050" algn="ctr">
            <a:noFill/>
            <a:miter lim="800000"/>
            <a:headEnd/>
            <a:tailEnd/>
          </a:ln>
          <a:effectLst/>
        </p:spPr>
        <p:txBody>
          <a:bodyPr lIns="72000" tIns="72000" rIns="72000" bIns="72000" rtlCol="0" anchor="ctr"/>
          <a:lstStyle/>
          <a:p>
            <a:pPr indent="3175" algn="ctr" defTabSz="457293" fontAlgn="base">
              <a:lnSpc>
                <a:spcPct val="104000"/>
              </a:lnSpc>
              <a:spcBef>
                <a:spcPct val="25000"/>
              </a:spcBef>
              <a:spcAft>
                <a:spcPct val="0"/>
              </a:spcAft>
              <a:buClr>
                <a:srgbClr val="E20074"/>
              </a:buClr>
              <a:buSzPct val="75000"/>
            </a:pPr>
            <a:endParaRPr lang="en-US" sz="1800" dirty="0" smtClean="0">
              <a:cs typeface="Arial" charset="0"/>
            </a:endParaRPr>
          </a:p>
        </p:txBody>
      </p:sp>
      <p:sp>
        <p:nvSpPr>
          <p:cNvPr id="12" name="Titelplatzhalter 1"/>
          <p:cNvSpPr>
            <a:spLocks noGrp="1"/>
          </p:cNvSpPr>
          <p:nvPr>
            <p:ph type="ctrTitle" hasCustomPrompt="1"/>
          </p:nvPr>
        </p:nvSpPr>
        <p:spPr bwMode="black">
          <a:xfrm>
            <a:off x="323851" y="323849"/>
            <a:ext cx="5113187" cy="4860926"/>
          </a:xfrm>
          <a:noFill/>
        </p:spPr>
        <p:txBody>
          <a:bodyPr wrap="square" lIns="0" tIns="0">
            <a:noAutofit/>
          </a:bodyPr>
          <a:lstStyle>
            <a:lvl1pPr>
              <a:defRPr sz="6000" smtClean="0">
                <a:solidFill>
                  <a:schemeClr val="bg1"/>
                </a:solidFill>
                <a:latin typeface="TeleGrotesk Headline Ultra" pitchFamily="2" charset="0"/>
              </a:defRPr>
            </a:lvl1pPr>
          </a:lstStyle>
          <a:p>
            <a:r>
              <a:rPr lang="en-US" dirty="0" smtClean="0"/>
              <a:t>Content/</a:t>
            </a:r>
            <a:br>
              <a:rPr lang="en-US" dirty="0" smtClean="0"/>
            </a:br>
            <a:r>
              <a:rPr lang="en-US" dirty="0" smtClean="0"/>
              <a:t>Agenda</a:t>
            </a:r>
          </a:p>
        </p:txBody>
      </p:sp>
    </p:spTree>
    <p:extLst>
      <p:ext uri="{BB962C8B-B14F-4D97-AF65-F5344CB8AC3E}">
        <p14:creationId xmlns:p14="http://schemas.microsoft.com/office/powerpoint/2010/main" val="2250257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gray">
          <a:xfrm>
            <a:off x="323851" y="252000"/>
            <a:ext cx="10872000" cy="5040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endParaRPr lang="en-US" noProof="0" dirty="0" smtClean="0"/>
          </a:p>
        </p:txBody>
      </p:sp>
      <p:sp>
        <p:nvSpPr>
          <p:cNvPr id="1027" name="Textplatzhalter 2"/>
          <p:cNvSpPr>
            <a:spLocks noGrp="1"/>
          </p:cNvSpPr>
          <p:nvPr>
            <p:ph type="body" idx="1"/>
          </p:nvPr>
        </p:nvSpPr>
        <p:spPr bwMode="gray">
          <a:xfrm>
            <a:off x="324000" y="1476000"/>
            <a:ext cx="10872000" cy="4032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Datumsplatzhalter 3"/>
          <p:cNvSpPr>
            <a:spLocks noGrp="1"/>
          </p:cNvSpPr>
          <p:nvPr>
            <p:ph type="dt" sz="half" idx="2"/>
          </p:nvPr>
        </p:nvSpPr>
        <p:spPr bwMode="gray">
          <a:xfrm>
            <a:off x="9907200" y="5832475"/>
            <a:ext cx="828000" cy="323525"/>
          </a:xfrm>
          <a:prstGeom prst="rect">
            <a:avLst/>
          </a:prstGeom>
        </p:spPr>
        <p:txBody>
          <a:bodyPr vert="horz" wrap="non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r>
              <a:rPr lang="en-US" noProof="0" dirty="0" err="1" smtClean="0"/>
              <a:t>dd.mm.yyyy</a:t>
            </a:r>
            <a:endParaRPr lang="en-US" noProof="0" dirty="0"/>
          </a:p>
        </p:txBody>
      </p:sp>
      <p:sp>
        <p:nvSpPr>
          <p:cNvPr id="6" name="Foliennummernplatzhalter 5"/>
          <p:cNvSpPr>
            <a:spLocks noGrp="1"/>
          </p:cNvSpPr>
          <p:nvPr>
            <p:ph type="sldNum" sz="quarter" idx="4"/>
          </p:nvPr>
        </p:nvSpPr>
        <p:spPr bwMode="gray">
          <a:xfrm>
            <a:off x="10836000" y="5832475"/>
            <a:ext cx="360000" cy="323525"/>
          </a:xfrm>
          <a:prstGeom prst="rect">
            <a:avLst/>
          </a:prstGeom>
        </p:spPr>
        <p:txBody>
          <a:bodyPr vert="horz" wrap="squar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fld id="{31ED8236-F742-4994-B025-3D78EEC04644}" type="slidenum">
              <a:rPr lang="en-US" noProof="0" smtClean="0"/>
              <a:pPr fontAlgn="base">
                <a:spcAft>
                  <a:spcPct val="0"/>
                </a:spcAft>
              </a:pPr>
              <a:t>‹#›</a:t>
            </a:fld>
            <a:endParaRPr lang="en-US" noProof="0" dirty="0"/>
          </a:p>
        </p:txBody>
      </p:sp>
      <p:sp>
        <p:nvSpPr>
          <p:cNvPr id="5" name="Fußzeilenplatzhalter 4"/>
          <p:cNvSpPr>
            <a:spLocks noGrp="1"/>
          </p:cNvSpPr>
          <p:nvPr>
            <p:ph type="ftr" sz="quarter" idx="3"/>
          </p:nvPr>
        </p:nvSpPr>
        <p:spPr bwMode="gray">
          <a:xfrm>
            <a:off x="4662000" y="5832475"/>
            <a:ext cx="5148000" cy="323525"/>
          </a:xfrm>
          <a:prstGeom prst="rect">
            <a:avLst/>
          </a:prstGeom>
        </p:spPr>
        <p:txBody>
          <a:bodyPr vert="horz" wrap="squar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r>
              <a:rPr lang="en-US" noProof="0" dirty="0" smtClean="0"/>
              <a:t>– Strictly confidential, Confidential, Internal –     Author/Presentation Topic</a:t>
            </a:r>
            <a:endParaRPr lang="en-US" noProof="0" dirty="0"/>
          </a:p>
        </p:txBody>
      </p:sp>
      <p:grpSp>
        <p:nvGrpSpPr>
          <p:cNvPr id="2" name="Group 4"/>
          <p:cNvGrpSpPr>
            <a:grpSpLocks noChangeAspect="1"/>
          </p:cNvGrpSpPr>
          <p:nvPr userDrawn="1"/>
        </p:nvGrpSpPr>
        <p:grpSpPr bwMode="auto">
          <a:xfrm>
            <a:off x="323850" y="5832475"/>
            <a:ext cx="2257425" cy="409575"/>
            <a:chOff x="204" y="3674"/>
            <a:chExt cx="1422" cy="258"/>
          </a:xfrm>
        </p:grpSpPr>
        <p:sp>
          <p:nvSpPr>
            <p:cNvPr id="7" name="Freeform 5"/>
            <p:cNvSpPr>
              <a:spLocks/>
            </p:cNvSpPr>
            <p:nvPr userDrawn="1"/>
          </p:nvSpPr>
          <p:spPr bwMode="auto">
            <a:xfrm>
              <a:off x="204" y="3768"/>
              <a:ext cx="41" cy="42"/>
            </a:xfrm>
            <a:custGeom>
              <a:avLst/>
              <a:gdLst>
                <a:gd name="T0" fmla="*/ 0 w 41"/>
                <a:gd name="T1" fmla="*/ 42 h 42"/>
                <a:gd name="T2" fmla="*/ 0 w 41"/>
                <a:gd name="T3" fmla="*/ 0 h 42"/>
                <a:gd name="T4" fmla="*/ 20 w 41"/>
                <a:gd name="T5" fmla="*/ 0 h 42"/>
                <a:gd name="T6" fmla="*/ 41 w 41"/>
                <a:gd name="T7" fmla="*/ 0 h 42"/>
                <a:gd name="T8" fmla="*/ 41 w 41"/>
                <a:gd name="T9" fmla="*/ 42 h 42"/>
                <a:gd name="T10" fmla="*/ 0 w 41"/>
                <a:gd name="T11" fmla="*/ 42 h 42"/>
              </a:gdLst>
              <a:ahLst/>
              <a:cxnLst>
                <a:cxn ang="0">
                  <a:pos x="T0" y="T1"/>
                </a:cxn>
                <a:cxn ang="0">
                  <a:pos x="T2" y="T3"/>
                </a:cxn>
                <a:cxn ang="0">
                  <a:pos x="T4" y="T5"/>
                </a:cxn>
                <a:cxn ang="0">
                  <a:pos x="T6" y="T7"/>
                </a:cxn>
                <a:cxn ang="0">
                  <a:pos x="T8" y="T9"/>
                </a:cxn>
                <a:cxn ang="0">
                  <a:pos x="T10" y="T11"/>
                </a:cxn>
              </a:cxnLst>
              <a:rect l="0" t="0" r="r" b="b"/>
              <a:pathLst>
                <a:path w="41" h="42">
                  <a:moveTo>
                    <a:pt x="0" y="42"/>
                  </a:moveTo>
                  <a:lnTo>
                    <a:pt x="0" y="0"/>
                  </a:lnTo>
                  <a:lnTo>
                    <a:pt x="20" y="0"/>
                  </a:lnTo>
                  <a:lnTo>
                    <a:pt x="41" y="0"/>
                  </a:lnTo>
                  <a:lnTo>
                    <a:pt x="41" y="42"/>
                  </a:lnTo>
                  <a:lnTo>
                    <a:pt x="0" y="42"/>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p:cNvSpPr>
              <a:spLocks/>
            </p:cNvSpPr>
            <p:nvPr userDrawn="1"/>
          </p:nvSpPr>
          <p:spPr bwMode="auto">
            <a:xfrm>
              <a:off x="330" y="3768"/>
              <a:ext cx="42" cy="42"/>
            </a:xfrm>
            <a:custGeom>
              <a:avLst/>
              <a:gdLst>
                <a:gd name="T0" fmla="*/ 0 w 42"/>
                <a:gd name="T1" fmla="*/ 42 h 42"/>
                <a:gd name="T2" fmla="*/ 0 w 42"/>
                <a:gd name="T3" fmla="*/ 0 h 42"/>
                <a:gd name="T4" fmla="*/ 23 w 42"/>
                <a:gd name="T5" fmla="*/ 0 h 42"/>
                <a:gd name="T6" fmla="*/ 42 w 42"/>
                <a:gd name="T7" fmla="*/ 0 h 42"/>
                <a:gd name="T8" fmla="*/ 42 w 42"/>
                <a:gd name="T9" fmla="*/ 42 h 42"/>
                <a:gd name="T10" fmla="*/ 0 w 42"/>
                <a:gd name="T11" fmla="*/ 42 h 42"/>
              </a:gdLst>
              <a:ahLst/>
              <a:cxnLst>
                <a:cxn ang="0">
                  <a:pos x="T0" y="T1"/>
                </a:cxn>
                <a:cxn ang="0">
                  <a:pos x="T2" y="T3"/>
                </a:cxn>
                <a:cxn ang="0">
                  <a:pos x="T4" y="T5"/>
                </a:cxn>
                <a:cxn ang="0">
                  <a:pos x="T6" y="T7"/>
                </a:cxn>
                <a:cxn ang="0">
                  <a:pos x="T8" y="T9"/>
                </a:cxn>
                <a:cxn ang="0">
                  <a:pos x="T10" y="T11"/>
                </a:cxn>
              </a:cxnLst>
              <a:rect l="0" t="0" r="r" b="b"/>
              <a:pathLst>
                <a:path w="42" h="42">
                  <a:moveTo>
                    <a:pt x="0" y="42"/>
                  </a:moveTo>
                  <a:lnTo>
                    <a:pt x="0" y="0"/>
                  </a:lnTo>
                  <a:lnTo>
                    <a:pt x="23" y="0"/>
                  </a:lnTo>
                  <a:lnTo>
                    <a:pt x="42" y="0"/>
                  </a:lnTo>
                  <a:lnTo>
                    <a:pt x="42" y="42"/>
                  </a:lnTo>
                  <a:lnTo>
                    <a:pt x="0" y="42"/>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p:cNvSpPr>
              <a:spLocks/>
            </p:cNvSpPr>
            <p:nvPr userDrawn="1"/>
          </p:nvSpPr>
          <p:spPr bwMode="auto">
            <a:xfrm>
              <a:off x="455" y="3768"/>
              <a:ext cx="42" cy="42"/>
            </a:xfrm>
            <a:custGeom>
              <a:avLst/>
              <a:gdLst>
                <a:gd name="T0" fmla="*/ 0 w 42"/>
                <a:gd name="T1" fmla="*/ 42 h 42"/>
                <a:gd name="T2" fmla="*/ 0 w 42"/>
                <a:gd name="T3" fmla="*/ 0 h 42"/>
                <a:gd name="T4" fmla="*/ 21 w 42"/>
                <a:gd name="T5" fmla="*/ 0 h 42"/>
                <a:gd name="T6" fmla="*/ 42 w 42"/>
                <a:gd name="T7" fmla="*/ 0 h 42"/>
                <a:gd name="T8" fmla="*/ 42 w 42"/>
                <a:gd name="T9" fmla="*/ 42 h 42"/>
                <a:gd name="T10" fmla="*/ 0 w 42"/>
                <a:gd name="T11" fmla="*/ 42 h 42"/>
              </a:gdLst>
              <a:ahLst/>
              <a:cxnLst>
                <a:cxn ang="0">
                  <a:pos x="T0" y="T1"/>
                </a:cxn>
                <a:cxn ang="0">
                  <a:pos x="T2" y="T3"/>
                </a:cxn>
                <a:cxn ang="0">
                  <a:pos x="T4" y="T5"/>
                </a:cxn>
                <a:cxn ang="0">
                  <a:pos x="T6" y="T7"/>
                </a:cxn>
                <a:cxn ang="0">
                  <a:pos x="T8" y="T9"/>
                </a:cxn>
                <a:cxn ang="0">
                  <a:pos x="T10" y="T11"/>
                </a:cxn>
              </a:cxnLst>
              <a:rect l="0" t="0" r="r" b="b"/>
              <a:pathLst>
                <a:path w="42" h="42">
                  <a:moveTo>
                    <a:pt x="0" y="42"/>
                  </a:moveTo>
                  <a:lnTo>
                    <a:pt x="0" y="0"/>
                  </a:lnTo>
                  <a:lnTo>
                    <a:pt x="21" y="0"/>
                  </a:lnTo>
                  <a:lnTo>
                    <a:pt x="42" y="0"/>
                  </a:lnTo>
                  <a:lnTo>
                    <a:pt x="42" y="42"/>
                  </a:lnTo>
                  <a:lnTo>
                    <a:pt x="0" y="42"/>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p:cNvSpPr>
              <a:spLocks/>
            </p:cNvSpPr>
            <p:nvPr userDrawn="1"/>
          </p:nvSpPr>
          <p:spPr bwMode="auto">
            <a:xfrm>
              <a:off x="579" y="3768"/>
              <a:ext cx="42" cy="42"/>
            </a:xfrm>
            <a:custGeom>
              <a:avLst/>
              <a:gdLst>
                <a:gd name="T0" fmla="*/ 0 w 42"/>
                <a:gd name="T1" fmla="*/ 42 h 42"/>
                <a:gd name="T2" fmla="*/ 0 w 42"/>
                <a:gd name="T3" fmla="*/ 0 h 42"/>
                <a:gd name="T4" fmla="*/ 19 w 42"/>
                <a:gd name="T5" fmla="*/ 0 h 42"/>
                <a:gd name="T6" fmla="*/ 42 w 42"/>
                <a:gd name="T7" fmla="*/ 0 h 42"/>
                <a:gd name="T8" fmla="*/ 42 w 42"/>
                <a:gd name="T9" fmla="*/ 42 h 42"/>
                <a:gd name="T10" fmla="*/ 0 w 42"/>
                <a:gd name="T11" fmla="*/ 42 h 42"/>
              </a:gdLst>
              <a:ahLst/>
              <a:cxnLst>
                <a:cxn ang="0">
                  <a:pos x="T0" y="T1"/>
                </a:cxn>
                <a:cxn ang="0">
                  <a:pos x="T2" y="T3"/>
                </a:cxn>
                <a:cxn ang="0">
                  <a:pos x="T4" y="T5"/>
                </a:cxn>
                <a:cxn ang="0">
                  <a:pos x="T6" y="T7"/>
                </a:cxn>
                <a:cxn ang="0">
                  <a:pos x="T8" y="T9"/>
                </a:cxn>
                <a:cxn ang="0">
                  <a:pos x="T10" y="T11"/>
                </a:cxn>
              </a:cxnLst>
              <a:rect l="0" t="0" r="r" b="b"/>
              <a:pathLst>
                <a:path w="42" h="42">
                  <a:moveTo>
                    <a:pt x="0" y="42"/>
                  </a:moveTo>
                  <a:lnTo>
                    <a:pt x="0" y="0"/>
                  </a:lnTo>
                  <a:lnTo>
                    <a:pt x="19" y="0"/>
                  </a:lnTo>
                  <a:lnTo>
                    <a:pt x="42" y="0"/>
                  </a:lnTo>
                  <a:lnTo>
                    <a:pt x="42" y="42"/>
                  </a:lnTo>
                  <a:lnTo>
                    <a:pt x="0" y="42"/>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p:cNvSpPr>
              <a:spLocks/>
            </p:cNvSpPr>
            <p:nvPr userDrawn="1"/>
          </p:nvSpPr>
          <p:spPr bwMode="auto">
            <a:xfrm>
              <a:off x="204" y="3674"/>
              <a:ext cx="168" cy="205"/>
            </a:xfrm>
            <a:custGeom>
              <a:avLst/>
              <a:gdLst>
                <a:gd name="T0" fmla="*/ 322 w 325"/>
                <a:gd name="T1" fmla="*/ 0 h 397"/>
                <a:gd name="T2" fmla="*/ 4 w 325"/>
                <a:gd name="T3" fmla="*/ 0 h 397"/>
                <a:gd name="T4" fmla="*/ 0 w 325"/>
                <a:gd name="T5" fmla="*/ 140 h 397"/>
                <a:gd name="T6" fmla="*/ 21 w 325"/>
                <a:gd name="T7" fmla="*/ 143 h 397"/>
                <a:gd name="T8" fmla="*/ 54 w 325"/>
                <a:gd name="T9" fmla="*/ 52 h 397"/>
                <a:gd name="T10" fmla="*/ 131 w 325"/>
                <a:gd name="T11" fmla="*/ 19 h 397"/>
                <a:gd name="T12" fmla="*/ 131 w 325"/>
                <a:gd name="T13" fmla="*/ 312 h 397"/>
                <a:gd name="T14" fmla="*/ 120 w 325"/>
                <a:gd name="T15" fmla="*/ 362 h 397"/>
                <a:gd name="T16" fmla="*/ 88 w 325"/>
                <a:gd name="T17" fmla="*/ 374 h 397"/>
                <a:gd name="T18" fmla="*/ 65 w 325"/>
                <a:gd name="T19" fmla="*/ 374 h 397"/>
                <a:gd name="T20" fmla="*/ 65 w 325"/>
                <a:gd name="T21" fmla="*/ 397 h 397"/>
                <a:gd name="T22" fmla="*/ 261 w 325"/>
                <a:gd name="T23" fmla="*/ 397 h 397"/>
                <a:gd name="T24" fmla="*/ 261 w 325"/>
                <a:gd name="T25" fmla="*/ 374 h 397"/>
                <a:gd name="T26" fmla="*/ 238 w 325"/>
                <a:gd name="T27" fmla="*/ 374 h 397"/>
                <a:gd name="T28" fmla="*/ 206 w 325"/>
                <a:gd name="T29" fmla="*/ 362 h 397"/>
                <a:gd name="T30" fmla="*/ 194 w 325"/>
                <a:gd name="T31" fmla="*/ 312 h 397"/>
                <a:gd name="T32" fmla="*/ 194 w 325"/>
                <a:gd name="T33" fmla="*/ 19 h 397"/>
                <a:gd name="T34" fmla="*/ 272 w 325"/>
                <a:gd name="T35" fmla="*/ 52 h 397"/>
                <a:gd name="T36" fmla="*/ 304 w 325"/>
                <a:gd name="T37" fmla="*/ 143 h 397"/>
                <a:gd name="T38" fmla="*/ 325 w 325"/>
                <a:gd name="T39" fmla="*/ 140 h 397"/>
                <a:gd name="T40" fmla="*/ 322 w 325"/>
                <a:gd name="T41"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 h="397">
                  <a:moveTo>
                    <a:pt x="322" y="0"/>
                  </a:moveTo>
                  <a:cubicBezTo>
                    <a:pt x="4" y="0"/>
                    <a:pt x="4" y="0"/>
                    <a:pt x="4" y="0"/>
                  </a:cubicBezTo>
                  <a:cubicBezTo>
                    <a:pt x="0" y="140"/>
                    <a:pt x="0" y="140"/>
                    <a:pt x="0" y="140"/>
                  </a:cubicBezTo>
                  <a:cubicBezTo>
                    <a:pt x="21" y="143"/>
                    <a:pt x="21" y="143"/>
                    <a:pt x="21" y="143"/>
                  </a:cubicBezTo>
                  <a:cubicBezTo>
                    <a:pt x="25" y="102"/>
                    <a:pt x="36" y="72"/>
                    <a:pt x="54" y="52"/>
                  </a:cubicBezTo>
                  <a:cubicBezTo>
                    <a:pt x="72" y="31"/>
                    <a:pt x="98" y="20"/>
                    <a:pt x="131" y="19"/>
                  </a:cubicBezTo>
                  <a:cubicBezTo>
                    <a:pt x="131" y="312"/>
                    <a:pt x="131" y="312"/>
                    <a:pt x="131" y="312"/>
                  </a:cubicBezTo>
                  <a:cubicBezTo>
                    <a:pt x="131" y="337"/>
                    <a:pt x="127" y="354"/>
                    <a:pt x="120" y="362"/>
                  </a:cubicBezTo>
                  <a:cubicBezTo>
                    <a:pt x="114" y="368"/>
                    <a:pt x="103" y="372"/>
                    <a:pt x="88" y="374"/>
                  </a:cubicBezTo>
                  <a:cubicBezTo>
                    <a:pt x="83" y="374"/>
                    <a:pt x="76" y="374"/>
                    <a:pt x="65" y="374"/>
                  </a:cubicBezTo>
                  <a:cubicBezTo>
                    <a:pt x="65" y="397"/>
                    <a:pt x="65" y="397"/>
                    <a:pt x="65" y="397"/>
                  </a:cubicBezTo>
                  <a:cubicBezTo>
                    <a:pt x="261" y="397"/>
                    <a:pt x="261" y="397"/>
                    <a:pt x="261" y="397"/>
                  </a:cubicBezTo>
                  <a:cubicBezTo>
                    <a:pt x="261" y="374"/>
                    <a:pt x="261" y="374"/>
                    <a:pt x="261" y="374"/>
                  </a:cubicBezTo>
                  <a:cubicBezTo>
                    <a:pt x="250" y="374"/>
                    <a:pt x="242" y="374"/>
                    <a:pt x="238" y="374"/>
                  </a:cubicBezTo>
                  <a:cubicBezTo>
                    <a:pt x="223" y="372"/>
                    <a:pt x="212" y="368"/>
                    <a:pt x="206" y="362"/>
                  </a:cubicBezTo>
                  <a:cubicBezTo>
                    <a:pt x="198" y="354"/>
                    <a:pt x="194" y="337"/>
                    <a:pt x="194" y="312"/>
                  </a:cubicBezTo>
                  <a:cubicBezTo>
                    <a:pt x="194" y="19"/>
                    <a:pt x="194" y="19"/>
                    <a:pt x="194" y="19"/>
                  </a:cubicBezTo>
                  <a:cubicBezTo>
                    <a:pt x="228" y="20"/>
                    <a:pt x="253" y="31"/>
                    <a:pt x="272" y="52"/>
                  </a:cubicBezTo>
                  <a:cubicBezTo>
                    <a:pt x="290" y="72"/>
                    <a:pt x="301" y="102"/>
                    <a:pt x="304" y="143"/>
                  </a:cubicBezTo>
                  <a:cubicBezTo>
                    <a:pt x="325" y="140"/>
                    <a:pt x="325" y="140"/>
                    <a:pt x="325" y="140"/>
                  </a:cubicBezTo>
                  <a:lnTo>
                    <a:pt x="322" y="0"/>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p:cNvSpPr>
              <a:spLocks/>
            </p:cNvSpPr>
            <p:nvPr userDrawn="1"/>
          </p:nvSpPr>
          <p:spPr bwMode="auto">
            <a:xfrm>
              <a:off x="657" y="3677"/>
              <a:ext cx="123" cy="206"/>
            </a:xfrm>
            <a:custGeom>
              <a:avLst/>
              <a:gdLst>
                <a:gd name="T0" fmla="*/ 202 w 239"/>
                <a:gd name="T1" fmla="*/ 134 h 400"/>
                <a:gd name="T2" fmla="*/ 175 w 239"/>
                <a:gd name="T3" fmla="*/ 59 h 400"/>
                <a:gd name="T4" fmla="*/ 108 w 239"/>
                <a:gd name="T5" fmla="*/ 20 h 400"/>
                <a:gd name="T6" fmla="*/ 66 w 239"/>
                <a:gd name="T7" fmla="*/ 35 h 400"/>
                <a:gd name="T8" fmla="*/ 45 w 239"/>
                <a:gd name="T9" fmla="*/ 84 h 400"/>
                <a:gd name="T10" fmla="*/ 68 w 239"/>
                <a:gd name="T11" fmla="*/ 134 h 400"/>
                <a:gd name="T12" fmla="*/ 120 w 239"/>
                <a:gd name="T13" fmla="*/ 159 h 400"/>
                <a:gd name="T14" fmla="*/ 198 w 239"/>
                <a:gd name="T15" fmla="*/ 193 h 400"/>
                <a:gd name="T16" fmla="*/ 239 w 239"/>
                <a:gd name="T17" fmla="*/ 279 h 400"/>
                <a:gd name="T18" fmla="*/ 205 w 239"/>
                <a:gd name="T19" fmla="*/ 367 h 400"/>
                <a:gd name="T20" fmla="*/ 127 w 239"/>
                <a:gd name="T21" fmla="*/ 400 h 400"/>
                <a:gd name="T22" fmla="*/ 82 w 239"/>
                <a:gd name="T23" fmla="*/ 391 h 400"/>
                <a:gd name="T24" fmla="*/ 52 w 239"/>
                <a:gd name="T25" fmla="*/ 374 h 400"/>
                <a:gd name="T26" fmla="*/ 40 w 239"/>
                <a:gd name="T27" fmla="*/ 370 h 400"/>
                <a:gd name="T28" fmla="*/ 26 w 239"/>
                <a:gd name="T29" fmla="*/ 378 h 400"/>
                <a:gd name="T30" fmla="*/ 18 w 239"/>
                <a:gd name="T31" fmla="*/ 391 h 400"/>
                <a:gd name="T32" fmla="*/ 0 w 239"/>
                <a:gd name="T33" fmla="*/ 391 h 400"/>
                <a:gd name="T34" fmla="*/ 0 w 239"/>
                <a:gd name="T35" fmla="*/ 252 h 400"/>
                <a:gd name="T36" fmla="*/ 19 w 239"/>
                <a:gd name="T37" fmla="*/ 252 h 400"/>
                <a:gd name="T38" fmla="*/ 46 w 239"/>
                <a:gd name="T39" fmla="*/ 332 h 400"/>
                <a:gd name="T40" fmla="*/ 124 w 239"/>
                <a:gd name="T41" fmla="*/ 379 h 400"/>
                <a:gd name="T42" fmla="*/ 171 w 239"/>
                <a:gd name="T43" fmla="*/ 363 h 400"/>
                <a:gd name="T44" fmla="*/ 195 w 239"/>
                <a:gd name="T45" fmla="*/ 304 h 400"/>
                <a:gd name="T46" fmla="*/ 158 w 239"/>
                <a:gd name="T47" fmla="*/ 239 h 400"/>
                <a:gd name="T48" fmla="*/ 94 w 239"/>
                <a:gd name="T49" fmla="*/ 214 h 400"/>
                <a:gd name="T50" fmla="*/ 35 w 239"/>
                <a:gd name="T51" fmla="*/ 183 h 400"/>
                <a:gd name="T52" fmla="*/ 3 w 239"/>
                <a:gd name="T53" fmla="*/ 107 h 400"/>
                <a:gd name="T54" fmla="*/ 38 w 239"/>
                <a:gd name="T55" fmla="*/ 25 h 400"/>
                <a:gd name="T56" fmla="*/ 105 w 239"/>
                <a:gd name="T57" fmla="*/ 0 h 400"/>
                <a:gd name="T58" fmla="*/ 148 w 239"/>
                <a:gd name="T59" fmla="*/ 8 h 400"/>
                <a:gd name="T60" fmla="*/ 175 w 239"/>
                <a:gd name="T61" fmla="*/ 23 h 400"/>
                <a:gd name="T62" fmla="*/ 185 w 239"/>
                <a:gd name="T63" fmla="*/ 26 h 400"/>
                <a:gd name="T64" fmla="*/ 203 w 239"/>
                <a:gd name="T65" fmla="*/ 8 h 400"/>
                <a:gd name="T66" fmla="*/ 219 w 239"/>
                <a:gd name="T67" fmla="*/ 8 h 400"/>
                <a:gd name="T68" fmla="*/ 219 w 239"/>
                <a:gd name="T69" fmla="*/ 134 h 400"/>
                <a:gd name="T70" fmla="*/ 202 w 239"/>
                <a:gd name="T71" fmla="*/ 13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9" h="400">
                  <a:moveTo>
                    <a:pt x="202" y="134"/>
                  </a:moveTo>
                  <a:cubicBezTo>
                    <a:pt x="195" y="100"/>
                    <a:pt x="186" y="75"/>
                    <a:pt x="175" y="59"/>
                  </a:cubicBezTo>
                  <a:cubicBezTo>
                    <a:pt x="158" y="33"/>
                    <a:pt x="135" y="20"/>
                    <a:pt x="108" y="20"/>
                  </a:cubicBezTo>
                  <a:cubicBezTo>
                    <a:pt x="91" y="20"/>
                    <a:pt x="77" y="25"/>
                    <a:pt x="66" y="35"/>
                  </a:cubicBezTo>
                  <a:cubicBezTo>
                    <a:pt x="52" y="47"/>
                    <a:pt x="45" y="63"/>
                    <a:pt x="45" y="84"/>
                  </a:cubicBezTo>
                  <a:cubicBezTo>
                    <a:pt x="45" y="105"/>
                    <a:pt x="53" y="122"/>
                    <a:pt x="68" y="134"/>
                  </a:cubicBezTo>
                  <a:cubicBezTo>
                    <a:pt x="77" y="142"/>
                    <a:pt x="94" y="150"/>
                    <a:pt x="120" y="159"/>
                  </a:cubicBezTo>
                  <a:cubicBezTo>
                    <a:pt x="159" y="172"/>
                    <a:pt x="184" y="184"/>
                    <a:pt x="198" y="193"/>
                  </a:cubicBezTo>
                  <a:cubicBezTo>
                    <a:pt x="225" y="214"/>
                    <a:pt x="239" y="243"/>
                    <a:pt x="239" y="279"/>
                  </a:cubicBezTo>
                  <a:cubicBezTo>
                    <a:pt x="239" y="314"/>
                    <a:pt x="228" y="344"/>
                    <a:pt x="205" y="367"/>
                  </a:cubicBezTo>
                  <a:cubicBezTo>
                    <a:pt x="184" y="389"/>
                    <a:pt x="158" y="400"/>
                    <a:pt x="127" y="400"/>
                  </a:cubicBezTo>
                  <a:cubicBezTo>
                    <a:pt x="111" y="400"/>
                    <a:pt x="96" y="397"/>
                    <a:pt x="82" y="391"/>
                  </a:cubicBezTo>
                  <a:cubicBezTo>
                    <a:pt x="76" y="388"/>
                    <a:pt x="66" y="383"/>
                    <a:pt x="52" y="374"/>
                  </a:cubicBezTo>
                  <a:cubicBezTo>
                    <a:pt x="48" y="372"/>
                    <a:pt x="44" y="370"/>
                    <a:pt x="40" y="370"/>
                  </a:cubicBezTo>
                  <a:cubicBezTo>
                    <a:pt x="34" y="370"/>
                    <a:pt x="30" y="373"/>
                    <a:pt x="26" y="378"/>
                  </a:cubicBezTo>
                  <a:cubicBezTo>
                    <a:pt x="24" y="381"/>
                    <a:pt x="21" y="385"/>
                    <a:pt x="18" y="391"/>
                  </a:cubicBezTo>
                  <a:cubicBezTo>
                    <a:pt x="0" y="391"/>
                    <a:pt x="0" y="391"/>
                    <a:pt x="0" y="391"/>
                  </a:cubicBezTo>
                  <a:cubicBezTo>
                    <a:pt x="0" y="252"/>
                    <a:pt x="0" y="252"/>
                    <a:pt x="0" y="252"/>
                  </a:cubicBezTo>
                  <a:cubicBezTo>
                    <a:pt x="19" y="252"/>
                    <a:pt x="19" y="252"/>
                    <a:pt x="19" y="252"/>
                  </a:cubicBezTo>
                  <a:cubicBezTo>
                    <a:pt x="25" y="287"/>
                    <a:pt x="35" y="314"/>
                    <a:pt x="46" y="332"/>
                  </a:cubicBezTo>
                  <a:cubicBezTo>
                    <a:pt x="66" y="364"/>
                    <a:pt x="92" y="379"/>
                    <a:pt x="124" y="379"/>
                  </a:cubicBezTo>
                  <a:cubicBezTo>
                    <a:pt x="143" y="379"/>
                    <a:pt x="159" y="374"/>
                    <a:pt x="171" y="363"/>
                  </a:cubicBezTo>
                  <a:cubicBezTo>
                    <a:pt x="187" y="348"/>
                    <a:pt x="195" y="329"/>
                    <a:pt x="195" y="304"/>
                  </a:cubicBezTo>
                  <a:cubicBezTo>
                    <a:pt x="195" y="275"/>
                    <a:pt x="183" y="253"/>
                    <a:pt x="158" y="239"/>
                  </a:cubicBezTo>
                  <a:cubicBezTo>
                    <a:pt x="150" y="234"/>
                    <a:pt x="129" y="226"/>
                    <a:pt x="94" y="214"/>
                  </a:cubicBezTo>
                  <a:cubicBezTo>
                    <a:pt x="69" y="206"/>
                    <a:pt x="49" y="195"/>
                    <a:pt x="35" y="183"/>
                  </a:cubicBezTo>
                  <a:cubicBezTo>
                    <a:pt x="14" y="164"/>
                    <a:pt x="3" y="139"/>
                    <a:pt x="3" y="107"/>
                  </a:cubicBezTo>
                  <a:cubicBezTo>
                    <a:pt x="3" y="72"/>
                    <a:pt x="15" y="45"/>
                    <a:pt x="38" y="25"/>
                  </a:cubicBezTo>
                  <a:cubicBezTo>
                    <a:pt x="56" y="8"/>
                    <a:pt x="79" y="0"/>
                    <a:pt x="105" y="0"/>
                  </a:cubicBezTo>
                  <a:cubicBezTo>
                    <a:pt x="119" y="0"/>
                    <a:pt x="134" y="2"/>
                    <a:pt x="148" y="8"/>
                  </a:cubicBezTo>
                  <a:cubicBezTo>
                    <a:pt x="153" y="10"/>
                    <a:pt x="162" y="15"/>
                    <a:pt x="175" y="23"/>
                  </a:cubicBezTo>
                  <a:cubicBezTo>
                    <a:pt x="179" y="25"/>
                    <a:pt x="182" y="26"/>
                    <a:pt x="185" y="26"/>
                  </a:cubicBezTo>
                  <a:cubicBezTo>
                    <a:pt x="191" y="26"/>
                    <a:pt x="197" y="20"/>
                    <a:pt x="203" y="8"/>
                  </a:cubicBezTo>
                  <a:cubicBezTo>
                    <a:pt x="219" y="8"/>
                    <a:pt x="219" y="8"/>
                    <a:pt x="219" y="8"/>
                  </a:cubicBezTo>
                  <a:cubicBezTo>
                    <a:pt x="219" y="134"/>
                    <a:pt x="219" y="134"/>
                    <a:pt x="219" y="134"/>
                  </a:cubicBezTo>
                  <a:lnTo>
                    <a:pt x="202" y="134"/>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1"/>
            <p:cNvSpPr>
              <a:spLocks/>
            </p:cNvSpPr>
            <p:nvPr userDrawn="1"/>
          </p:nvSpPr>
          <p:spPr bwMode="auto">
            <a:xfrm>
              <a:off x="788" y="3743"/>
              <a:ext cx="133" cy="189"/>
            </a:xfrm>
            <a:custGeom>
              <a:avLst/>
              <a:gdLst>
                <a:gd name="T0" fmla="*/ 0 w 258"/>
                <a:gd name="T1" fmla="*/ 0 h 367"/>
                <a:gd name="T2" fmla="*/ 119 w 258"/>
                <a:gd name="T3" fmla="*/ 0 h 367"/>
                <a:gd name="T4" fmla="*/ 119 w 258"/>
                <a:gd name="T5" fmla="*/ 18 h 367"/>
                <a:gd name="T6" fmla="*/ 109 w 258"/>
                <a:gd name="T7" fmla="*/ 18 h 367"/>
                <a:gd name="T8" fmla="*/ 86 w 258"/>
                <a:gd name="T9" fmla="*/ 30 h 367"/>
                <a:gd name="T10" fmla="*/ 90 w 258"/>
                <a:gd name="T11" fmla="*/ 46 h 367"/>
                <a:gd name="T12" fmla="*/ 147 w 258"/>
                <a:gd name="T13" fmla="*/ 196 h 367"/>
                <a:gd name="T14" fmla="*/ 197 w 258"/>
                <a:gd name="T15" fmla="*/ 57 h 367"/>
                <a:gd name="T16" fmla="*/ 202 w 258"/>
                <a:gd name="T17" fmla="*/ 34 h 367"/>
                <a:gd name="T18" fmla="*/ 177 w 258"/>
                <a:gd name="T19" fmla="*/ 18 h 367"/>
                <a:gd name="T20" fmla="*/ 164 w 258"/>
                <a:gd name="T21" fmla="*/ 18 h 367"/>
                <a:gd name="T22" fmla="*/ 164 w 258"/>
                <a:gd name="T23" fmla="*/ 0 h 367"/>
                <a:gd name="T24" fmla="*/ 258 w 258"/>
                <a:gd name="T25" fmla="*/ 0 h 367"/>
                <a:gd name="T26" fmla="*/ 258 w 258"/>
                <a:gd name="T27" fmla="*/ 18 h 367"/>
                <a:gd name="T28" fmla="*/ 252 w 258"/>
                <a:gd name="T29" fmla="*/ 18 h 367"/>
                <a:gd name="T30" fmla="*/ 235 w 258"/>
                <a:gd name="T31" fmla="*/ 26 h 367"/>
                <a:gd name="T32" fmla="*/ 226 w 258"/>
                <a:gd name="T33" fmla="*/ 44 h 367"/>
                <a:gd name="T34" fmla="*/ 131 w 258"/>
                <a:gd name="T35" fmla="*/ 299 h 367"/>
                <a:gd name="T36" fmla="*/ 101 w 258"/>
                <a:gd name="T37" fmla="*/ 351 h 367"/>
                <a:gd name="T38" fmla="*/ 60 w 258"/>
                <a:gd name="T39" fmla="*/ 367 h 367"/>
                <a:gd name="T40" fmla="*/ 25 w 258"/>
                <a:gd name="T41" fmla="*/ 355 h 367"/>
                <a:gd name="T42" fmla="*/ 7 w 258"/>
                <a:gd name="T43" fmla="*/ 318 h 367"/>
                <a:gd name="T44" fmla="*/ 15 w 258"/>
                <a:gd name="T45" fmla="*/ 295 h 367"/>
                <a:gd name="T46" fmla="*/ 38 w 258"/>
                <a:gd name="T47" fmla="*/ 285 h 367"/>
                <a:gd name="T48" fmla="*/ 62 w 258"/>
                <a:gd name="T49" fmla="*/ 296 h 367"/>
                <a:gd name="T50" fmla="*/ 67 w 258"/>
                <a:gd name="T51" fmla="*/ 313 h 367"/>
                <a:gd name="T52" fmla="*/ 58 w 258"/>
                <a:gd name="T53" fmla="*/ 334 h 367"/>
                <a:gd name="T54" fmla="*/ 43 w 258"/>
                <a:gd name="T55" fmla="*/ 341 h 367"/>
                <a:gd name="T56" fmla="*/ 61 w 258"/>
                <a:gd name="T57" fmla="*/ 348 h 367"/>
                <a:gd name="T58" fmla="*/ 90 w 258"/>
                <a:gd name="T59" fmla="*/ 335 h 367"/>
                <a:gd name="T60" fmla="*/ 115 w 258"/>
                <a:gd name="T61" fmla="*/ 284 h 367"/>
                <a:gd name="T62" fmla="*/ 121 w 258"/>
                <a:gd name="T63" fmla="*/ 266 h 367"/>
                <a:gd name="T64" fmla="*/ 42 w 258"/>
                <a:gd name="T65" fmla="*/ 55 h 367"/>
                <a:gd name="T66" fmla="*/ 27 w 258"/>
                <a:gd name="T67" fmla="*/ 24 h 367"/>
                <a:gd name="T68" fmla="*/ 4 w 258"/>
                <a:gd name="T69" fmla="*/ 18 h 367"/>
                <a:gd name="T70" fmla="*/ 0 w 258"/>
                <a:gd name="T71" fmla="*/ 18 h 367"/>
                <a:gd name="T72" fmla="*/ 0 w 258"/>
                <a:gd name="T73"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8" h="367">
                  <a:moveTo>
                    <a:pt x="0" y="0"/>
                  </a:moveTo>
                  <a:cubicBezTo>
                    <a:pt x="119" y="0"/>
                    <a:pt x="119" y="0"/>
                    <a:pt x="119" y="0"/>
                  </a:cubicBezTo>
                  <a:cubicBezTo>
                    <a:pt x="119" y="18"/>
                    <a:pt x="119" y="18"/>
                    <a:pt x="119" y="18"/>
                  </a:cubicBezTo>
                  <a:cubicBezTo>
                    <a:pt x="109" y="18"/>
                    <a:pt x="109" y="18"/>
                    <a:pt x="109" y="18"/>
                  </a:cubicBezTo>
                  <a:cubicBezTo>
                    <a:pt x="93" y="18"/>
                    <a:pt x="86" y="22"/>
                    <a:pt x="86" y="30"/>
                  </a:cubicBezTo>
                  <a:cubicBezTo>
                    <a:pt x="86" y="34"/>
                    <a:pt x="87" y="39"/>
                    <a:pt x="90" y="46"/>
                  </a:cubicBezTo>
                  <a:cubicBezTo>
                    <a:pt x="147" y="196"/>
                    <a:pt x="147" y="196"/>
                    <a:pt x="147" y="196"/>
                  </a:cubicBezTo>
                  <a:cubicBezTo>
                    <a:pt x="197" y="57"/>
                    <a:pt x="197" y="57"/>
                    <a:pt x="197" y="57"/>
                  </a:cubicBezTo>
                  <a:cubicBezTo>
                    <a:pt x="200" y="47"/>
                    <a:pt x="202" y="39"/>
                    <a:pt x="202" y="34"/>
                  </a:cubicBezTo>
                  <a:cubicBezTo>
                    <a:pt x="202" y="23"/>
                    <a:pt x="194" y="18"/>
                    <a:pt x="177" y="18"/>
                  </a:cubicBezTo>
                  <a:cubicBezTo>
                    <a:pt x="164" y="18"/>
                    <a:pt x="164" y="18"/>
                    <a:pt x="164" y="18"/>
                  </a:cubicBezTo>
                  <a:cubicBezTo>
                    <a:pt x="164" y="0"/>
                    <a:pt x="164" y="0"/>
                    <a:pt x="164" y="0"/>
                  </a:cubicBezTo>
                  <a:cubicBezTo>
                    <a:pt x="258" y="0"/>
                    <a:pt x="258" y="0"/>
                    <a:pt x="258" y="0"/>
                  </a:cubicBezTo>
                  <a:cubicBezTo>
                    <a:pt x="258" y="18"/>
                    <a:pt x="258" y="18"/>
                    <a:pt x="258" y="18"/>
                  </a:cubicBezTo>
                  <a:cubicBezTo>
                    <a:pt x="252" y="18"/>
                    <a:pt x="252" y="18"/>
                    <a:pt x="252" y="18"/>
                  </a:cubicBezTo>
                  <a:cubicBezTo>
                    <a:pt x="245" y="18"/>
                    <a:pt x="240" y="20"/>
                    <a:pt x="235" y="26"/>
                  </a:cubicBezTo>
                  <a:cubicBezTo>
                    <a:pt x="232" y="29"/>
                    <a:pt x="229" y="36"/>
                    <a:pt x="226" y="44"/>
                  </a:cubicBezTo>
                  <a:cubicBezTo>
                    <a:pt x="131" y="299"/>
                    <a:pt x="131" y="299"/>
                    <a:pt x="131" y="299"/>
                  </a:cubicBezTo>
                  <a:cubicBezTo>
                    <a:pt x="122" y="323"/>
                    <a:pt x="112" y="340"/>
                    <a:pt x="101" y="351"/>
                  </a:cubicBezTo>
                  <a:cubicBezTo>
                    <a:pt x="90" y="362"/>
                    <a:pt x="76" y="367"/>
                    <a:pt x="60" y="367"/>
                  </a:cubicBezTo>
                  <a:cubicBezTo>
                    <a:pt x="46" y="367"/>
                    <a:pt x="34" y="363"/>
                    <a:pt x="25" y="355"/>
                  </a:cubicBezTo>
                  <a:cubicBezTo>
                    <a:pt x="13" y="345"/>
                    <a:pt x="7" y="333"/>
                    <a:pt x="7" y="318"/>
                  </a:cubicBezTo>
                  <a:cubicBezTo>
                    <a:pt x="7" y="309"/>
                    <a:pt x="10" y="301"/>
                    <a:pt x="15" y="295"/>
                  </a:cubicBezTo>
                  <a:cubicBezTo>
                    <a:pt x="21" y="288"/>
                    <a:pt x="28" y="285"/>
                    <a:pt x="38" y="285"/>
                  </a:cubicBezTo>
                  <a:cubicBezTo>
                    <a:pt x="49" y="285"/>
                    <a:pt x="57" y="289"/>
                    <a:pt x="62" y="296"/>
                  </a:cubicBezTo>
                  <a:cubicBezTo>
                    <a:pt x="66" y="301"/>
                    <a:pt x="67" y="306"/>
                    <a:pt x="67" y="313"/>
                  </a:cubicBezTo>
                  <a:cubicBezTo>
                    <a:pt x="67" y="321"/>
                    <a:pt x="64" y="328"/>
                    <a:pt x="58" y="334"/>
                  </a:cubicBezTo>
                  <a:cubicBezTo>
                    <a:pt x="54" y="337"/>
                    <a:pt x="49" y="340"/>
                    <a:pt x="43" y="341"/>
                  </a:cubicBezTo>
                  <a:cubicBezTo>
                    <a:pt x="48" y="345"/>
                    <a:pt x="53" y="348"/>
                    <a:pt x="61" y="348"/>
                  </a:cubicBezTo>
                  <a:cubicBezTo>
                    <a:pt x="72" y="348"/>
                    <a:pt x="82" y="343"/>
                    <a:pt x="90" y="335"/>
                  </a:cubicBezTo>
                  <a:cubicBezTo>
                    <a:pt x="97" y="327"/>
                    <a:pt x="106" y="310"/>
                    <a:pt x="115" y="284"/>
                  </a:cubicBezTo>
                  <a:cubicBezTo>
                    <a:pt x="121" y="266"/>
                    <a:pt x="121" y="266"/>
                    <a:pt x="121" y="266"/>
                  </a:cubicBezTo>
                  <a:cubicBezTo>
                    <a:pt x="42" y="55"/>
                    <a:pt x="42" y="55"/>
                    <a:pt x="42" y="55"/>
                  </a:cubicBezTo>
                  <a:cubicBezTo>
                    <a:pt x="36" y="38"/>
                    <a:pt x="31" y="28"/>
                    <a:pt x="27" y="24"/>
                  </a:cubicBezTo>
                  <a:cubicBezTo>
                    <a:pt x="21" y="20"/>
                    <a:pt x="14" y="18"/>
                    <a:pt x="4" y="18"/>
                  </a:cubicBezTo>
                  <a:cubicBezTo>
                    <a:pt x="0" y="18"/>
                    <a:pt x="0" y="18"/>
                    <a:pt x="0" y="18"/>
                  </a:cubicBezTo>
                  <a:lnTo>
                    <a:pt x="0" y="0"/>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2"/>
            <p:cNvSpPr>
              <a:spLocks/>
            </p:cNvSpPr>
            <p:nvPr userDrawn="1"/>
          </p:nvSpPr>
          <p:spPr bwMode="auto">
            <a:xfrm>
              <a:off x="924" y="3740"/>
              <a:ext cx="94" cy="141"/>
            </a:xfrm>
            <a:custGeom>
              <a:avLst/>
              <a:gdLst>
                <a:gd name="T0" fmla="*/ 168 w 184"/>
                <a:gd name="T1" fmla="*/ 6 h 275"/>
                <a:gd name="T2" fmla="*/ 168 w 184"/>
                <a:gd name="T3" fmla="*/ 89 h 275"/>
                <a:gd name="T4" fmla="*/ 151 w 184"/>
                <a:gd name="T5" fmla="*/ 89 h 275"/>
                <a:gd name="T6" fmla="*/ 84 w 184"/>
                <a:gd name="T7" fmla="*/ 17 h 275"/>
                <a:gd name="T8" fmla="*/ 53 w 184"/>
                <a:gd name="T9" fmla="*/ 28 h 275"/>
                <a:gd name="T10" fmla="*/ 41 w 184"/>
                <a:gd name="T11" fmla="*/ 57 h 275"/>
                <a:gd name="T12" fmla="*/ 58 w 184"/>
                <a:gd name="T13" fmla="*/ 88 h 275"/>
                <a:gd name="T14" fmla="*/ 89 w 184"/>
                <a:gd name="T15" fmla="*/ 101 h 275"/>
                <a:gd name="T16" fmla="*/ 152 w 184"/>
                <a:gd name="T17" fmla="*/ 128 h 275"/>
                <a:gd name="T18" fmla="*/ 184 w 184"/>
                <a:gd name="T19" fmla="*/ 191 h 275"/>
                <a:gd name="T20" fmla="*/ 157 w 184"/>
                <a:gd name="T21" fmla="*/ 255 h 275"/>
                <a:gd name="T22" fmla="*/ 98 w 184"/>
                <a:gd name="T23" fmla="*/ 275 h 275"/>
                <a:gd name="T24" fmla="*/ 60 w 184"/>
                <a:gd name="T25" fmla="*/ 268 h 275"/>
                <a:gd name="T26" fmla="*/ 34 w 184"/>
                <a:gd name="T27" fmla="*/ 254 h 275"/>
                <a:gd name="T28" fmla="*/ 26 w 184"/>
                <a:gd name="T29" fmla="*/ 252 h 275"/>
                <a:gd name="T30" fmla="*/ 16 w 184"/>
                <a:gd name="T31" fmla="*/ 270 h 275"/>
                <a:gd name="T32" fmla="*/ 0 w 184"/>
                <a:gd name="T33" fmla="*/ 270 h 275"/>
                <a:gd name="T34" fmla="*/ 0 w 184"/>
                <a:gd name="T35" fmla="*/ 172 h 275"/>
                <a:gd name="T36" fmla="*/ 16 w 184"/>
                <a:gd name="T37" fmla="*/ 172 h 275"/>
                <a:gd name="T38" fmla="*/ 37 w 184"/>
                <a:gd name="T39" fmla="*/ 224 h 275"/>
                <a:gd name="T40" fmla="*/ 63 w 184"/>
                <a:gd name="T41" fmla="*/ 248 h 275"/>
                <a:gd name="T42" fmla="*/ 97 w 184"/>
                <a:gd name="T43" fmla="*/ 257 h 275"/>
                <a:gd name="T44" fmla="*/ 132 w 184"/>
                <a:gd name="T45" fmla="*/ 242 h 275"/>
                <a:gd name="T46" fmla="*/ 144 w 184"/>
                <a:gd name="T47" fmla="*/ 210 h 275"/>
                <a:gd name="T48" fmla="*/ 120 w 184"/>
                <a:gd name="T49" fmla="*/ 170 h 275"/>
                <a:gd name="T50" fmla="*/ 70 w 184"/>
                <a:gd name="T51" fmla="*/ 149 h 275"/>
                <a:gd name="T52" fmla="*/ 28 w 184"/>
                <a:gd name="T53" fmla="*/ 128 h 275"/>
                <a:gd name="T54" fmla="*/ 3 w 184"/>
                <a:gd name="T55" fmla="*/ 72 h 275"/>
                <a:gd name="T56" fmla="*/ 26 w 184"/>
                <a:gd name="T57" fmla="*/ 19 h 275"/>
                <a:gd name="T58" fmla="*/ 80 w 184"/>
                <a:gd name="T59" fmla="*/ 0 h 275"/>
                <a:gd name="T60" fmla="*/ 134 w 184"/>
                <a:gd name="T61" fmla="*/ 16 h 275"/>
                <a:gd name="T62" fmla="*/ 143 w 184"/>
                <a:gd name="T63" fmla="*/ 19 h 275"/>
                <a:gd name="T64" fmla="*/ 151 w 184"/>
                <a:gd name="T65" fmla="*/ 6 h 275"/>
                <a:gd name="T66" fmla="*/ 168 w 184"/>
                <a:gd name="T67" fmla="*/ 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75">
                  <a:moveTo>
                    <a:pt x="168" y="6"/>
                  </a:moveTo>
                  <a:cubicBezTo>
                    <a:pt x="168" y="89"/>
                    <a:pt x="168" y="89"/>
                    <a:pt x="168" y="89"/>
                  </a:cubicBezTo>
                  <a:cubicBezTo>
                    <a:pt x="151" y="89"/>
                    <a:pt x="151" y="89"/>
                    <a:pt x="151" y="89"/>
                  </a:cubicBezTo>
                  <a:cubicBezTo>
                    <a:pt x="142" y="41"/>
                    <a:pt x="119" y="17"/>
                    <a:pt x="84" y="17"/>
                  </a:cubicBezTo>
                  <a:cubicBezTo>
                    <a:pt x="71" y="17"/>
                    <a:pt x="61" y="21"/>
                    <a:pt x="53" y="28"/>
                  </a:cubicBezTo>
                  <a:cubicBezTo>
                    <a:pt x="45" y="36"/>
                    <a:pt x="41" y="46"/>
                    <a:pt x="41" y="57"/>
                  </a:cubicBezTo>
                  <a:cubicBezTo>
                    <a:pt x="41" y="70"/>
                    <a:pt x="47" y="80"/>
                    <a:pt x="58" y="88"/>
                  </a:cubicBezTo>
                  <a:cubicBezTo>
                    <a:pt x="64" y="92"/>
                    <a:pt x="74" y="96"/>
                    <a:pt x="89" y="101"/>
                  </a:cubicBezTo>
                  <a:cubicBezTo>
                    <a:pt x="120" y="111"/>
                    <a:pt x="142" y="120"/>
                    <a:pt x="152" y="128"/>
                  </a:cubicBezTo>
                  <a:cubicBezTo>
                    <a:pt x="173" y="144"/>
                    <a:pt x="184" y="165"/>
                    <a:pt x="184" y="191"/>
                  </a:cubicBezTo>
                  <a:cubicBezTo>
                    <a:pt x="184" y="217"/>
                    <a:pt x="175" y="238"/>
                    <a:pt x="157" y="255"/>
                  </a:cubicBezTo>
                  <a:cubicBezTo>
                    <a:pt x="141" y="269"/>
                    <a:pt x="122" y="275"/>
                    <a:pt x="98" y="275"/>
                  </a:cubicBezTo>
                  <a:cubicBezTo>
                    <a:pt x="84" y="275"/>
                    <a:pt x="71" y="273"/>
                    <a:pt x="60" y="268"/>
                  </a:cubicBezTo>
                  <a:cubicBezTo>
                    <a:pt x="55" y="266"/>
                    <a:pt x="46" y="262"/>
                    <a:pt x="34" y="254"/>
                  </a:cubicBezTo>
                  <a:cubicBezTo>
                    <a:pt x="31" y="253"/>
                    <a:pt x="28" y="252"/>
                    <a:pt x="26" y="252"/>
                  </a:cubicBezTo>
                  <a:cubicBezTo>
                    <a:pt x="23" y="252"/>
                    <a:pt x="19" y="258"/>
                    <a:pt x="16" y="270"/>
                  </a:cubicBezTo>
                  <a:cubicBezTo>
                    <a:pt x="0" y="270"/>
                    <a:pt x="0" y="270"/>
                    <a:pt x="0" y="270"/>
                  </a:cubicBezTo>
                  <a:cubicBezTo>
                    <a:pt x="0" y="172"/>
                    <a:pt x="0" y="172"/>
                    <a:pt x="0" y="172"/>
                  </a:cubicBezTo>
                  <a:cubicBezTo>
                    <a:pt x="16" y="172"/>
                    <a:pt x="16" y="172"/>
                    <a:pt x="16" y="172"/>
                  </a:cubicBezTo>
                  <a:cubicBezTo>
                    <a:pt x="23" y="196"/>
                    <a:pt x="30" y="214"/>
                    <a:pt x="37" y="224"/>
                  </a:cubicBezTo>
                  <a:cubicBezTo>
                    <a:pt x="44" y="234"/>
                    <a:pt x="53" y="242"/>
                    <a:pt x="63" y="248"/>
                  </a:cubicBezTo>
                  <a:cubicBezTo>
                    <a:pt x="74" y="254"/>
                    <a:pt x="85" y="257"/>
                    <a:pt x="97" y="257"/>
                  </a:cubicBezTo>
                  <a:cubicBezTo>
                    <a:pt x="112" y="257"/>
                    <a:pt x="123" y="252"/>
                    <a:pt x="132" y="242"/>
                  </a:cubicBezTo>
                  <a:cubicBezTo>
                    <a:pt x="140" y="233"/>
                    <a:pt x="144" y="222"/>
                    <a:pt x="144" y="210"/>
                  </a:cubicBezTo>
                  <a:cubicBezTo>
                    <a:pt x="144" y="193"/>
                    <a:pt x="136" y="179"/>
                    <a:pt x="120" y="170"/>
                  </a:cubicBezTo>
                  <a:cubicBezTo>
                    <a:pt x="112" y="164"/>
                    <a:pt x="95" y="158"/>
                    <a:pt x="70" y="149"/>
                  </a:cubicBezTo>
                  <a:cubicBezTo>
                    <a:pt x="53" y="144"/>
                    <a:pt x="39" y="137"/>
                    <a:pt x="28" y="128"/>
                  </a:cubicBezTo>
                  <a:cubicBezTo>
                    <a:pt x="11" y="115"/>
                    <a:pt x="3" y="97"/>
                    <a:pt x="3" y="72"/>
                  </a:cubicBezTo>
                  <a:cubicBezTo>
                    <a:pt x="3" y="50"/>
                    <a:pt x="10" y="32"/>
                    <a:pt x="26" y="19"/>
                  </a:cubicBezTo>
                  <a:cubicBezTo>
                    <a:pt x="40" y="6"/>
                    <a:pt x="58" y="0"/>
                    <a:pt x="80" y="0"/>
                  </a:cubicBezTo>
                  <a:cubicBezTo>
                    <a:pt x="99" y="0"/>
                    <a:pt x="117" y="5"/>
                    <a:pt x="134" y="16"/>
                  </a:cubicBezTo>
                  <a:cubicBezTo>
                    <a:pt x="138" y="18"/>
                    <a:pt x="141" y="19"/>
                    <a:pt x="143" y="19"/>
                  </a:cubicBezTo>
                  <a:cubicBezTo>
                    <a:pt x="146" y="19"/>
                    <a:pt x="149" y="14"/>
                    <a:pt x="151" y="6"/>
                  </a:cubicBezTo>
                  <a:lnTo>
                    <a:pt x="168" y="6"/>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3"/>
            <p:cNvSpPr>
              <a:spLocks/>
            </p:cNvSpPr>
            <p:nvPr userDrawn="1"/>
          </p:nvSpPr>
          <p:spPr bwMode="auto">
            <a:xfrm>
              <a:off x="1022" y="3691"/>
              <a:ext cx="91" cy="190"/>
            </a:xfrm>
            <a:custGeom>
              <a:avLst/>
              <a:gdLst>
                <a:gd name="T0" fmla="*/ 90 w 176"/>
                <a:gd name="T1" fmla="*/ 119 h 369"/>
                <a:gd name="T2" fmla="*/ 90 w 176"/>
                <a:gd name="T3" fmla="*/ 278 h 369"/>
                <a:gd name="T4" fmla="*/ 94 w 176"/>
                <a:gd name="T5" fmla="*/ 323 h 369"/>
                <a:gd name="T6" fmla="*/ 122 w 176"/>
                <a:gd name="T7" fmla="*/ 345 h 369"/>
                <a:gd name="T8" fmla="*/ 149 w 176"/>
                <a:gd name="T9" fmla="*/ 326 h 369"/>
                <a:gd name="T10" fmla="*/ 157 w 176"/>
                <a:gd name="T11" fmla="*/ 281 h 369"/>
                <a:gd name="T12" fmla="*/ 157 w 176"/>
                <a:gd name="T13" fmla="*/ 273 h 369"/>
                <a:gd name="T14" fmla="*/ 176 w 176"/>
                <a:gd name="T15" fmla="*/ 273 h 369"/>
                <a:gd name="T16" fmla="*/ 176 w 176"/>
                <a:gd name="T17" fmla="*/ 284 h 369"/>
                <a:gd name="T18" fmla="*/ 159 w 176"/>
                <a:gd name="T19" fmla="*/ 347 h 369"/>
                <a:gd name="T20" fmla="*/ 108 w 176"/>
                <a:gd name="T21" fmla="*/ 369 h 369"/>
                <a:gd name="T22" fmla="*/ 58 w 176"/>
                <a:gd name="T23" fmla="*/ 350 h 369"/>
                <a:gd name="T24" fmla="*/ 43 w 176"/>
                <a:gd name="T25" fmla="*/ 315 h 369"/>
                <a:gd name="T26" fmla="*/ 42 w 176"/>
                <a:gd name="T27" fmla="*/ 278 h 369"/>
                <a:gd name="T28" fmla="*/ 42 w 176"/>
                <a:gd name="T29" fmla="*/ 119 h 369"/>
                <a:gd name="T30" fmla="*/ 0 w 176"/>
                <a:gd name="T31" fmla="*/ 119 h 369"/>
                <a:gd name="T32" fmla="*/ 0 w 176"/>
                <a:gd name="T33" fmla="*/ 103 h 369"/>
                <a:gd name="T34" fmla="*/ 54 w 176"/>
                <a:gd name="T35" fmla="*/ 72 h 369"/>
                <a:gd name="T36" fmla="*/ 74 w 176"/>
                <a:gd name="T37" fmla="*/ 0 h 369"/>
                <a:gd name="T38" fmla="*/ 90 w 176"/>
                <a:gd name="T39" fmla="*/ 0 h 369"/>
                <a:gd name="T40" fmla="*/ 90 w 176"/>
                <a:gd name="T41" fmla="*/ 100 h 369"/>
                <a:gd name="T42" fmla="*/ 167 w 176"/>
                <a:gd name="T43" fmla="*/ 100 h 369"/>
                <a:gd name="T44" fmla="*/ 167 w 176"/>
                <a:gd name="T45" fmla="*/ 119 h 369"/>
                <a:gd name="T46" fmla="*/ 90 w 176"/>
                <a:gd name="T47" fmla="*/ 1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6" h="369">
                  <a:moveTo>
                    <a:pt x="90" y="119"/>
                  </a:moveTo>
                  <a:cubicBezTo>
                    <a:pt x="90" y="278"/>
                    <a:pt x="90" y="278"/>
                    <a:pt x="90" y="278"/>
                  </a:cubicBezTo>
                  <a:cubicBezTo>
                    <a:pt x="90" y="299"/>
                    <a:pt x="92" y="314"/>
                    <a:pt x="94" y="323"/>
                  </a:cubicBezTo>
                  <a:cubicBezTo>
                    <a:pt x="99" y="338"/>
                    <a:pt x="108" y="345"/>
                    <a:pt x="122" y="345"/>
                  </a:cubicBezTo>
                  <a:cubicBezTo>
                    <a:pt x="134" y="345"/>
                    <a:pt x="143" y="339"/>
                    <a:pt x="149" y="326"/>
                  </a:cubicBezTo>
                  <a:cubicBezTo>
                    <a:pt x="154" y="314"/>
                    <a:pt x="157" y="299"/>
                    <a:pt x="157" y="281"/>
                  </a:cubicBezTo>
                  <a:cubicBezTo>
                    <a:pt x="157" y="273"/>
                    <a:pt x="157" y="273"/>
                    <a:pt x="157" y="273"/>
                  </a:cubicBezTo>
                  <a:cubicBezTo>
                    <a:pt x="176" y="273"/>
                    <a:pt x="176" y="273"/>
                    <a:pt x="176" y="273"/>
                  </a:cubicBezTo>
                  <a:cubicBezTo>
                    <a:pt x="176" y="284"/>
                    <a:pt x="176" y="284"/>
                    <a:pt x="176" y="284"/>
                  </a:cubicBezTo>
                  <a:cubicBezTo>
                    <a:pt x="176" y="310"/>
                    <a:pt x="170" y="331"/>
                    <a:pt x="159" y="347"/>
                  </a:cubicBezTo>
                  <a:cubicBezTo>
                    <a:pt x="148" y="362"/>
                    <a:pt x="131" y="369"/>
                    <a:pt x="108" y="369"/>
                  </a:cubicBezTo>
                  <a:cubicBezTo>
                    <a:pt x="85" y="369"/>
                    <a:pt x="69" y="363"/>
                    <a:pt x="58" y="350"/>
                  </a:cubicBezTo>
                  <a:cubicBezTo>
                    <a:pt x="50" y="340"/>
                    <a:pt x="45" y="329"/>
                    <a:pt x="43" y="315"/>
                  </a:cubicBezTo>
                  <a:cubicBezTo>
                    <a:pt x="42" y="305"/>
                    <a:pt x="42" y="293"/>
                    <a:pt x="42" y="278"/>
                  </a:cubicBezTo>
                  <a:cubicBezTo>
                    <a:pt x="42" y="119"/>
                    <a:pt x="42" y="119"/>
                    <a:pt x="42" y="119"/>
                  </a:cubicBezTo>
                  <a:cubicBezTo>
                    <a:pt x="0" y="119"/>
                    <a:pt x="0" y="119"/>
                    <a:pt x="0" y="119"/>
                  </a:cubicBezTo>
                  <a:cubicBezTo>
                    <a:pt x="0" y="103"/>
                    <a:pt x="0" y="103"/>
                    <a:pt x="0" y="103"/>
                  </a:cubicBezTo>
                  <a:cubicBezTo>
                    <a:pt x="27" y="97"/>
                    <a:pt x="45" y="86"/>
                    <a:pt x="54" y="72"/>
                  </a:cubicBezTo>
                  <a:cubicBezTo>
                    <a:pt x="64" y="57"/>
                    <a:pt x="71" y="33"/>
                    <a:pt x="74" y="0"/>
                  </a:cubicBezTo>
                  <a:cubicBezTo>
                    <a:pt x="90" y="0"/>
                    <a:pt x="90" y="0"/>
                    <a:pt x="90" y="0"/>
                  </a:cubicBezTo>
                  <a:cubicBezTo>
                    <a:pt x="90" y="100"/>
                    <a:pt x="90" y="100"/>
                    <a:pt x="90" y="100"/>
                  </a:cubicBezTo>
                  <a:cubicBezTo>
                    <a:pt x="167" y="100"/>
                    <a:pt x="167" y="100"/>
                    <a:pt x="167" y="100"/>
                  </a:cubicBezTo>
                  <a:cubicBezTo>
                    <a:pt x="167" y="119"/>
                    <a:pt x="167" y="119"/>
                    <a:pt x="167" y="119"/>
                  </a:cubicBezTo>
                  <a:lnTo>
                    <a:pt x="90" y="119"/>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14"/>
            <p:cNvSpPr>
              <a:spLocks noEditPoints="1"/>
            </p:cNvSpPr>
            <p:nvPr userDrawn="1"/>
          </p:nvSpPr>
          <p:spPr bwMode="auto">
            <a:xfrm>
              <a:off x="1122" y="3739"/>
              <a:ext cx="108" cy="144"/>
            </a:xfrm>
            <a:custGeom>
              <a:avLst/>
              <a:gdLst>
                <a:gd name="T0" fmla="*/ 210 w 210"/>
                <a:gd name="T1" fmla="*/ 138 h 280"/>
                <a:gd name="T2" fmla="*/ 53 w 210"/>
                <a:gd name="T3" fmla="*/ 138 h 280"/>
                <a:gd name="T4" fmla="*/ 65 w 210"/>
                <a:gd name="T5" fmla="*/ 220 h 280"/>
                <a:gd name="T6" fmla="*/ 119 w 210"/>
                <a:gd name="T7" fmla="*/ 257 h 280"/>
                <a:gd name="T8" fmla="*/ 168 w 210"/>
                <a:gd name="T9" fmla="*/ 234 h 280"/>
                <a:gd name="T10" fmla="*/ 190 w 210"/>
                <a:gd name="T11" fmla="*/ 198 h 280"/>
                <a:gd name="T12" fmla="*/ 207 w 210"/>
                <a:gd name="T13" fmla="*/ 207 h 280"/>
                <a:gd name="T14" fmla="*/ 110 w 210"/>
                <a:gd name="T15" fmla="*/ 280 h 280"/>
                <a:gd name="T16" fmla="*/ 36 w 210"/>
                <a:gd name="T17" fmla="*/ 249 h 280"/>
                <a:gd name="T18" fmla="*/ 0 w 210"/>
                <a:gd name="T19" fmla="*/ 138 h 280"/>
                <a:gd name="T20" fmla="*/ 36 w 210"/>
                <a:gd name="T21" fmla="*/ 31 h 280"/>
                <a:gd name="T22" fmla="*/ 104 w 210"/>
                <a:gd name="T23" fmla="*/ 0 h 280"/>
                <a:gd name="T24" fmla="*/ 193 w 210"/>
                <a:gd name="T25" fmla="*/ 59 h 280"/>
                <a:gd name="T26" fmla="*/ 210 w 210"/>
                <a:gd name="T27" fmla="*/ 138 h 280"/>
                <a:gd name="T28" fmla="*/ 157 w 210"/>
                <a:gd name="T29" fmla="*/ 118 h 280"/>
                <a:gd name="T30" fmla="*/ 150 w 210"/>
                <a:gd name="T31" fmla="*/ 60 h 280"/>
                <a:gd name="T32" fmla="*/ 107 w 210"/>
                <a:gd name="T33" fmla="*/ 20 h 280"/>
                <a:gd name="T34" fmla="*/ 60 w 210"/>
                <a:gd name="T35" fmla="*/ 69 h 280"/>
                <a:gd name="T36" fmla="*/ 54 w 210"/>
                <a:gd name="T37" fmla="*/ 118 h 280"/>
                <a:gd name="T38" fmla="*/ 157 w 210"/>
                <a:gd name="T39" fmla="*/ 11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 h="280">
                  <a:moveTo>
                    <a:pt x="210" y="138"/>
                  </a:moveTo>
                  <a:cubicBezTo>
                    <a:pt x="53" y="138"/>
                    <a:pt x="53" y="138"/>
                    <a:pt x="53" y="138"/>
                  </a:cubicBezTo>
                  <a:cubicBezTo>
                    <a:pt x="54" y="175"/>
                    <a:pt x="58" y="202"/>
                    <a:pt x="65" y="220"/>
                  </a:cubicBezTo>
                  <a:cubicBezTo>
                    <a:pt x="75" y="245"/>
                    <a:pt x="93" y="257"/>
                    <a:pt x="119" y="257"/>
                  </a:cubicBezTo>
                  <a:cubicBezTo>
                    <a:pt x="139" y="257"/>
                    <a:pt x="155" y="249"/>
                    <a:pt x="168" y="234"/>
                  </a:cubicBezTo>
                  <a:cubicBezTo>
                    <a:pt x="176" y="225"/>
                    <a:pt x="183" y="213"/>
                    <a:pt x="190" y="198"/>
                  </a:cubicBezTo>
                  <a:cubicBezTo>
                    <a:pt x="207" y="207"/>
                    <a:pt x="207" y="207"/>
                    <a:pt x="207" y="207"/>
                  </a:cubicBezTo>
                  <a:cubicBezTo>
                    <a:pt x="183" y="256"/>
                    <a:pt x="151" y="280"/>
                    <a:pt x="110" y="280"/>
                  </a:cubicBezTo>
                  <a:cubicBezTo>
                    <a:pt x="80" y="280"/>
                    <a:pt x="55" y="269"/>
                    <a:pt x="36" y="249"/>
                  </a:cubicBezTo>
                  <a:cubicBezTo>
                    <a:pt x="12" y="223"/>
                    <a:pt x="0" y="186"/>
                    <a:pt x="0" y="138"/>
                  </a:cubicBezTo>
                  <a:cubicBezTo>
                    <a:pt x="0" y="94"/>
                    <a:pt x="12" y="58"/>
                    <a:pt x="36" y="31"/>
                  </a:cubicBezTo>
                  <a:cubicBezTo>
                    <a:pt x="55" y="10"/>
                    <a:pt x="77" y="0"/>
                    <a:pt x="104" y="0"/>
                  </a:cubicBezTo>
                  <a:cubicBezTo>
                    <a:pt x="143" y="0"/>
                    <a:pt x="173" y="19"/>
                    <a:pt x="193" y="59"/>
                  </a:cubicBezTo>
                  <a:cubicBezTo>
                    <a:pt x="203" y="80"/>
                    <a:pt x="209" y="106"/>
                    <a:pt x="210" y="138"/>
                  </a:cubicBezTo>
                  <a:close/>
                  <a:moveTo>
                    <a:pt x="157" y="118"/>
                  </a:moveTo>
                  <a:cubicBezTo>
                    <a:pt x="157" y="94"/>
                    <a:pt x="155" y="75"/>
                    <a:pt x="150" y="60"/>
                  </a:cubicBezTo>
                  <a:cubicBezTo>
                    <a:pt x="141" y="33"/>
                    <a:pt x="126" y="20"/>
                    <a:pt x="107" y="20"/>
                  </a:cubicBezTo>
                  <a:cubicBezTo>
                    <a:pt x="85" y="20"/>
                    <a:pt x="69" y="36"/>
                    <a:pt x="60" y="69"/>
                  </a:cubicBezTo>
                  <a:cubicBezTo>
                    <a:pt x="56" y="82"/>
                    <a:pt x="54" y="99"/>
                    <a:pt x="54" y="118"/>
                  </a:cubicBezTo>
                  <a:lnTo>
                    <a:pt x="157" y="118"/>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p:cNvSpPr>
              <a:spLocks/>
            </p:cNvSpPr>
            <p:nvPr userDrawn="1"/>
          </p:nvSpPr>
          <p:spPr bwMode="auto">
            <a:xfrm>
              <a:off x="1240" y="3740"/>
              <a:ext cx="204" cy="139"/>
            </a:xfrm>
            <a:custGeom>
              <a:avLst/>
              <a:gdLst>
                <a:gd name="T0" fmla="*/ 312 w 396"/>
                <a:gd name="T1" fmla="*/ 270 h 270"/>
                <a:gd name="T2" fmla="*/ 312 w 396"/>
                <a:gd name="T3" fmla="*/ 108 h 270"/>
                <a:gd name="T4" fmla="*/ 305 w 396"/>
                <a:gd name="T5" fmla="*/ 44 h 270"/>
                <a:gd name="T6" fmla="*/ 275 w 396"/>
                <a:gd name="T7" fmla="*/ 25 h 270"/>
                <a:gd name="T8" fmla="*/ 236 w 396"/>
                <a:gd name="T9" fmla="*/ 52 h 270"/>
                <a:gd name="T10" fmla="*/ 225 w 396"/>
                <a:gd name="T11" fmla="*/ 84 h 270"/>
                <a:gd name="T12" fmla="*/ 223 w 396"/>
                <a:gd name="T13" fmla="*/ 134 h 270"/>
                <a:gd name="T14" fmla="*/ 223 w 396"/>
                <a:gd name="T15" fmla="*/ 205 h 270"/>
                <a:gd name="T16" fmla="*/ 230 w 396"/>
                <a:gd name="T17" fmla="*/ 245 h 270"/>
                <a:gd name="T18" fmla="*/ 252 w 396"/>
                <a:gd name="T19" fmla="*/ 252 h 270"/>
                <a:gd name="T20" fmla="*/ 261 w 396"/>
                <a:gd name="T21" fmla="*/ 252 h 270"/>
                <a:gd name="T22" fmla="*/ 261 w 396"/>
                <a:gd name="T23" fmla="*/ 270 h 270"/>
                <a:gd name="T24" fmla="*/ 175 w 396"/>
                <a:gd name="T25" fmla="*/ 270 h 270"/>
                <a:gd name="T26" fmla="*/ 175 w 396"/>
                <a:gd name="T27" fmla="*/ 117 h 270"/>
                <a:gd name="T28" fmla="*/ 173 w 396"/>
                <a:gd name="T29" fmla="*/ 66 h 270"/>
                <a:gd name="T30" fmla="*/ 137 w 396"/>
                <a:gd name="T31" fmla="*/ 25 h 270"/>
                <a:gd name="T32" fmla="*/ 99 w 396"/>
                <a:gd name="T33" fmla="*/ 53 h 270"/>
                <a:gd name="T34" fmla="*/ 89 w 396"/>
                <a:gd name="T35" fmla="*/ 81 h 270"/>
                <a:gd name="T36" fmla="*/ 86 w 396"/>
                <a:gd name="T37" fmla="*/ 134 h 270"/>
                <a:gd name="T38" fmla="*/ 86 w 396"/>
                <a:gd name="T39" fmla="*/ 205 h 270"/>
                <a:gd name="T40" fmla="*/ 93 w 396"/>
                <a:gd name="T41" fmla="*/ 245 h 270"/>
                <a:gd name="T42" fmla="*/ 116 w 396"/>
                <a:gd name="T43" fmla="*/ 252 h 270"/>
                <a:gd name="T44" fmla="*/ 124 w 396"/>
                <a:gd name="T45" fmla="*/ 252 h 270"/>
                <a:gd name="T46" fmla="*/ 124 w 396"/>
                <a:gd name="T47" fmla="*/ 270 h 270"/>
                <a:gd name="T48" fmla="*/ 0 w 396"/>
                <a:gd name="T49" fmla="*/ 270 h 270"/>
                <a:gd name="T50" fmla="*/ 0 w 396"/>
                <a:gd name="T51" fmla="*/ 252 h 270"/>
                <a:gd name="T52" fmla="*/ 9 w 396"/>
                <a:gd name="T53" fmla="*/ 252 h 270"/>
                <a:gd name="T54" fmla="*/ 31 w 396"/>
                <a:gd name="T55" fmla="*/ 245 h 270"/>
                <a:gd name="T56" fmla="*/ 38 w 396"/>
                <a:gd name="T57" fmla="*/ 205 h 270"/>
                <a:gd name="T58" fmla="*/ 38 w 396"/>
                <a:gd name="T59" fmla="*/ 69 h 270"/>
                <a:gd name="T60" fmla="*/ 31 w 396"/>
                <a:gd name="T61" fmla="*/ 30 h 270"/>
                <a:gd name="T62" fmla="*/ 9 w 396"/>
                <a:gd name="T63" fmla="*/ 24 h 270"/>
                <a:gd name="T64" fmla="*/ 2 w 396"/>
                <a:gd name="T65" fmla="*/ 24 h 270"/>
                <a:gd name="T66" fmla="*/ 2 w 396"/>
                <a:gd name="T67" fmla="*/ 6 h 270"/>
                <a:gd name="T68" fmla="*/ 83 w 396"/>
                <a:gd name="T69" fmla="*/ 2 h 270"/>
                <a:gd name="T70" fmla="*/ 83 w 396"/>
                <a:gd name="T71" fmla="*/ 49 h 270"/>
                <a:gd name="T72" fmla="*/ 99 w 396"/>
                <a:gd name="T73" fmla="*/ 23 h 270"/>
                <a:gd name="T74" fmla="*/ 150 w 396"/>
                <a:gd name="T75" fmla="*/ 0 h 270"/>
                <a:gd name="T76" fmla="*/ 217 w 396"/>
                <a:gd name="T77" fmla="*/ 52 h 270"/>
                <a:gd name="T78" fmla="*/ 288 w 396"/>
                <a:gd name="T79" fmla="*/ 0 h 270"/>
                <a:gd name="T80" fmla="*/ 346 w 396"/>
                <a:gd name="T81" fmla="*/ 30 h 270"/>
                <a:gd name="T82" fmla="*/ 358 w 396"/>
                <a:gd name="T83" fmla="*/ 66 h 270"/>
                <a:gd name="T84" fmla="*/ 360 w 396"/>
                <a:gd name="T85" fmla="*/ 102 h 270"/>
                <a:gd name="T86" fmla="*/ 360 w 396"/>
                <a:gd name="T87" fmla="*/ 205 h 270"/>
                <a:gd name="T88" fmla="*/ 367 w 396"/>
                <a:gd name="T89" fmla="*/ 245 h 270"/>
                <a:gd name="T90" fmla="*/ 389 w 396"/>
                <a:gd name="T91" fmla="*/ 252 h 270"/>
                <a:gd name="T92" fmla="*/ 396 w 396"/>
                <a:gd name="T93" fmla="*/ 252 h 270"/>
                <a:gd name="T94" fmla="*/ 396 w 396"/>
                <a:gd name="T95" fmla="*/ 270 h 270"/>
                <a:gd name="T96" fmla="*/ 312 w 396"/>
                <a:gd name="T97"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6" h="270">
                  <a:moveTo>
                    <a:pt x="312" y="270"/>
                  </a:moveTo>
                  <a:cubicBezTo>
                    <a:pt x="312" y="108"/>
                    <a:pt x="312" y="108"/>
                    <a:pt x="312" y="108"/>
                  </a:cubicBezTo>
                  <a:cubicBezTo>
                    <a:pt x="312" y="75"/>
                    <a:pt x="309" y="54"/>
                    <a:pt x="305" y="44"/>
                  </a:cubicBezTo>
                  <a:cubicBezTo>
                    <a:pt x="298" y="31"/>
                    <a:pt x="288" y="25"/>
                    <a:pt x="275" y="25"/>
                  </a:cubicBezTo>
                  <a:cubicBezTo>
                    <a:pt x="259" y="25"/>
                    <a:pt x="246" y="34"/>
                    <a:pt x="236" y="52"/>
                  </a:cubicBezTo>
                  <a:cubicBezTo>
                    <a:pt x="231" y="62"/>
                    <a:pt x="227" y="73"/>
                    <a:pt x="225" y="84"/>
                  </a:cubicBezTo>
                  <a:cubicBezTo>
                    <a:pt x="224" y="93"/>
                    <a:pt x="223" y="109"/>
                    <a:pt x="223" y="134"/>
                  </a:cubicBezTo>
                  <a:cubicBezTo>
                    <a:pt x="223" y="205"/>
                    <a:pt x="223" y="205"/>
                    <a:pt x="223" y="205"/>
                  </a:cubicBezTo>
                  <a:cubicBezTo>
                    <a:pt x="223" y="226"/>
                    <a:pt x="226" y="240"/>
                    <a:pt x="230" y="245"/>
                  </a:cubicBezTo>
                  <a:cubicBezTo>
                    <a:pt x="234" y="250"/>
                    <a:pt x="242" y="252"/>
                    <a:pt x="252" y="252"/>
                  </a:cubicBezTo>
                  <a:cubicBezTo>
                    <a:pt x="261" y="252"/>
                    <a:pt x="261" y="252"/>
                    <a:pt x="261" y="252"/>
                  </a:cubicBezTo>
                  <a:cubicBezTo>
                    <a:pt x="261" y="270"/>
                    <a:pt x="261" y="270"/>
                    <a:pt x="261" y="270"/>
                  </a:cubicBezTo>
                  <a:cubicBezTo>
                    <a:pt x="175" y="270"/>
                    <a:pt x="175" y="270"/>
                    <a:pt x="175" y="270"/>
                  </a:cubicBezTo>
                  <a:cubicBezTo>
                    <a:pt x="175" y="117"/>
                    <a:pt x="175" y="117"/>
                    <a:pt x="175" y="117"/>
                  </a:cubicBezTo>
                  <a:cubicBezTo>
                    <a:pt x="175" y="91"/>
                    <a:pt x="174" y="74"/>
                    <a:pt x="173" y="66"/>
                  </a:cubicBezTo>
                  <a:cubicBezTo>
                    <a:pt x="169" y="39"/>
                    <a:pt x="157" y="25"/>
                    <a:pt x="137" y="25"/>
                  </a:cubicBezTo>
                  <a:cubicBezTo>
                    <a:pt x="121" y="25"/>
                    <a:pt x="108" y="34"/>
                    <a:pt x="99" y="53"/>
                  </a:cubicBezTo>
                  <a:cubicBezTo>
                    <a:pt x="94" y="62"/>
                    <a:pt x="91" y="71"/>
                    <a:pt x="89" y="81"/>
                  </a:cubicBezTo>
                  <a:cubicBezTo>
                    <a:pt x="87" y="91"/>
                    <a:pt x="86" y="108"/>
                    <a:pt x="86" y="134"/>
                  </a:cubicBezTo>
                  <a:cubicBezTo>
                    <a:pt x="86" y="205"/>
                    <a:pt x="86" y="205"/>
                    <a:pt x="86" y="205"/>
                  </a:cubicBezTo>
                  <a:cubicBezTo>
                    <a:pt x="86" y="227"/>
                    <a:pt x="89" y="240"/>
                    <a:pt x="93" y="245"/>
                  </a:cubicBezTo>
                  <a:cubicBezTo>
                    <a:pt x="97" y="250"/>
                    <a:pt x="105" y="252"/>
                    <a:pt x="116" y="252"/>
                  </a:cubicBezTo>
                  <a:cubicBezTo>
                    <a:pt x="124" y="252"/>
                    <a:pt x="124" y="252"/>
                    <a:pt x="124" y="252"/>
                  </a:cubicBezTo>
                  <a:cubicBezTo>
                    <a:pt x="124" y="270"/>
                    <a:pt x="124" y="270"/>
                    <a:pt x="124" y="270"/>
                  </a:cubicBezTo>
                  <a:cubicBezTo>
                    <a:pt x="0" y="270"/>
                    <a:pt x="0" y="270"/>
                    <a:pt x="0" y="270"/>
                  </a:cubicBezTo>
                  <a:cubicBezTo>
                    <a:pt x="0" y="252"/>
                    <a:pt x="0" y="252"/>
                    <a:pt x="0" y="252"/>
                  </a:cubicBezTo>
                  <a:cubicBezTo>
                    <a:pt x="9" y="252"/>
                    <a:pt x="9" y="252"/>
                    <a:pt x="9" y="252"/>
                  </a:cubicBezTo>
                  <a:cubicBezTo>
                    <a:pt x="19" y="252"/>
                    <a:pt x="27" y="250"/>
                    <a:pt x="31" y="245"/>
                  </a:cubicBezTo>
                  <a:cubicBezTo>
                    <a:pt x="36" y="240"/>
                    <a:pt x="38" y="226"/>
                    <a:pt x="38" y="205"/>
                  </a:cubicBezTo>
                  <a:cubicBezTo>
                    <a:pt x="38" y="69"/>
                    <a:pt x="38" y="69"/>
                    <a:pt x="38" y="69"/>
                  </a:cubicBezTo>
                  <a:cubicBezTo>
                    <a:pt x="38" y="49"/>
                    <a:pt x="36" y="36"/>
                    <a:pt x="31" y="30"/>
                  </a:cubicBezTo>
                  <a:cubicBezTo>
                    <a:pt x="27" y="26"/>
                    <a:pt x="19" y="24"/>
                    <a:pt x="9" y="24"/>
                  </a:cubicBezTo>
                  <a:cubicBezTo>
                    <a:pt x="2" y="24"/>
                    <a:pt x="2" y="24"/>
                    <a:pt x="2" y="24"/>
                  </a:cubicBezTo>
                  <a:cubicBezTo>
                    <a:pt x="2" y="6"/>
                    <a:pt x="2" y="6"/>
                    <a:pt x="2" y="6"/>
                  </a:cubicBezTo>
                  <a:cubicBezTo>
                    <a:pt x="83" y="2"/>
                    <a:pt x="83" y="2"/>
                    <a:pt x="83" y="2"/>
                  </a:cubicBezTo>
                  <a:cubicBezTo>
                    <a:pt x="83" y="49"/>
                    <a:pt x="83" y="49"/>
                    <a:pt x="83" y="49"/>
                  </a:cubicBezTo>
                  <a:cubicBezTo>
                    <a:pt x="87" y="39"/>
                    <a:pt x="92" y="31"/>
                    <a:pt x="99" y="23"/>
                  </a:cubicBezTo>
                  <a:cubicBezTo>
                    <a:pt x="113" y="8"/>
                    <a:pt x="130" y="0"/>
                    <a:pt x="150" y="0"/>
                  </a:cubicBezTo>
                  <a:cubicBezTo>
                    <a:pt x="181" y="0"/>
                    <a:pt x="203" y="18"/>
                    <a:pt x="217" y="52"/>
                  </a:cubicBezTo>
                  <a:cubicBezTo>
                    <a:pt x="234" y="18"/>
                    <a:pt x="257" y="0"/>
                    <a:pt x="288" y="0"/>
                  </a:cubicBezTo>
                  <a:cubicBezTo>
                    <a:pt x="314" y="0"/>
                    <a:pt x="333" y="10"/>
                    <a:pt x="346" y="30"/>
                  </a:cubicBezTo>
                  <a:cubicBezTo>
                    <a:pt x="353" y="41"/>
                    <a:pt x="357" y="53"/>
                    <a:pt x="358" y="66"/>
                  </a:cubicBezTo>
                  <a:cubicBezTo>
                    <a:pt x="359" y="77"/>
                    <a:pt x="360" y="89"/>
                    <a:pt x="360" y="102"/>
                  </a:cubicBezTo>
                  <a:cubicBezTo>
                    <a:pt x="360" y="205"/>
                    <a:pt x="360" y="205"/>
                    <a:pt x="360" y="205"/>
                  </a:cubicBezTo>
                  <a:cubicBezTo>
                    <a:pt x="360" y="226"/>
                    <a:pt x="362" y="240"/>
                    <a:pt x="367" y="245"/>
                  </a:cubicBezTo>
                  <a:cubicBezTo>
                    <a:pt x="371" y="250"/>
                    <a:pt x="378" y="252"/>
                    <a:pt x="389" y="252"/>
                  </a:cubicBezTo>
                  <a:cubicBezTo>
                    <a:pt x="396" y="252"/>
                    <a:pt x="396" y="252"/>
                    <a:pt x="396" y="252"/>
                  </a:cubicBezTo>
                  <a:cubicBezTo>
                    <a:pt x="396" y="270"/>
                    <a:pt x="396" y="270"/>
                    <a:pt x="396" y="270"/>
                  </a:cubicBezTo>
                  <a:lnTo>
                    <a:pt x="312" y="270"/>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p:cNvSpPr>
              <a:spLocks/>
            </p:cNvSpPr>
            <p:nvPr userDrawn="1"/>
          </p:nvSpPr>
          <p:spPr bwMode="auto">
            <a:xfrm>
              <a:off x="1458" y="3740"/>
              <a:ext cx="95" cy="141"/>
            </a:xfrm>
            <a:custGeom>
              <a:avLst/>
              <a:gdLst>
                <a:gd name="T0" fmla="*/ 168 w 184"/>
                <a:gd name="T1" fmla="*/ 6 h 275"/>
                <a:gd name="T2" fmla="*/ 168 w 184"/>
                <a:gd name="T3" fmla="*/ 89 h 275"/>
                <a:gd name="T4" fmla="*/ 151 w 184"/>
                <a:gd name="T5" fmla="*/ 89 h 275"/>
                <a:gd name="T6" fmla="*/ 84 w 184"/>
                <a:gd name="T7" fmla="*/ 17 h 275"/>
                <a:gd name="T8" fmla="*/ 53 w 184"/>
                <a:gd name="T9" fmla="*/ 28 h 275"/>
                <a:gd name="T10" fmla="*/ 41 w 184"/>
                <a:gd name="T11" fmla="*/ 57 h 275"/>
                <a:gd name="T12" fmla="*/ 58 w 184"/>
                <a:gd name="T13" fmla="*/ 88 h 275"/>
                <a:gd name="T14" fmla="*/ 88 w 184"/>
                <a:gd name="T15" fmla="*/ 101 h 275"/>
                <a:gd name="T16" fmla="*/ 152 w 184"/>
                <a:gd name="T17" fmla="*/ 128 h 275"/>
                <a:gd name="T18" fmla="*/ 184 w 184"/>
                <a:gd name="T19" fmla="*/ 191 h 275"/>
                <a:gd name="T20" fmla="*/ 156 w 184"/>
                <a:gd name="T21" fmla="*/ 255 h 275"/>
                <a:gd name="T22" fmla="*/ 98 w 184"/>
                <a:gd name="T23" fmla="*/ 275 h 275"/>
                <a:gd name="T24" fmla="*/ 59 w 184"/>
                <a:gd name="T25" fmla="*/ 268 h 275"/>
                <a:gd name="T26" fmla="*/ 33 w 184"/>
                <a:gd name="T27" fmla="*/ 254 h 275"/>
                <a:gd name="T28" fmla="*/ 26 w 184"/>
                <a:gd name="T29" fmla="*/ 252 h 275"/>
                <a:gd name="T30" fmla="*/ 16 w 184"/>
                <a:gd name="T31" fmla="*/ 270 h 275"/>
                <a:gd name="T32" fmla="*/ 0 w 184"/>
                <a:gd name="T33" fmla="*/ 270 h 275"/>
                <a:gd name="T34" fmla="*/ 0 w 184"/>
                <a:gd name="T35" fmla="*/ 172 h 275"/>
                <a:gd name="T36" fmla="*/ 16 w 184"/>
                <a:gd name="T37" fmla="*/ 172 h 275"/>
                <a:gd name="T38" fmla="*/ 37 w 184"/>
                <a:gd name="T39" fmla="*/ 224 h 275"/>
                <a:gd name="T40" fmla="*/ 63 w 184"/>
                <a:gd name="T41" fmla="*/ 248 h 275"/>
                <a:gd name="T42" fmla="*/ 97 w 184"/>
                <a:gd name="T43" fmla="*/ 257 h 275"/>
                <a:gd name="T44" fmla="*/ 131 w 184"/>
                <a:gd name="T45" fmla="*/ 242 h 275"/>
                <a:gd name="T46" fmla="*/ 144 w 184"/>
                <a:gd name="T47" fmla="*/ 210 h 275"/>
                <a:gd name="T48" fmla="*/ 120 w 184"/>
                <a:gd name="T49" fmla="*/ 170 h 275"/>
                <a:gd name="T50" fmla="*/ 69 w 184"/>
                <a:gd name="T51" fmla="*/ 149 h 275"/>
                <a:gd name="T52" fmla="*/ 28 w 184"/>
                <a:gd name="T53" fmla="*/ 128 h 275"/>
                <a:gd name="T54" fmla="*/ 2 w 184"/>
                <a:gd name="T55" fmla="*/ 72 h 275"/>
                <a:gd name="T56" fmla="*/ 26 w 184"/>
                <a:gd name="T57" fmla="*/ 19 h 275"/>
                <a:gd name="T58" fmla="*/ 80 w 184"/>
                <a:gd name="T59" fmla="*/ 0 h 275"/>
                <a:gd name="T60" fmla="*/ 134 w 184"/>
                <a:gd name="T61" fmla="*/ 16 h 275"/>
                <a:gd name="T62" fmla="*/ 142 w 184"/>
                <a:gd name="T63" fmla="*/ 19 h 275"/>
                <a:gd name="T64" fmla="*/ 151 w 184"/>
                <a:gd name="T65" fmla="*/ 6 h 275"/>
                <a:gd name="T66" fmla="*/ 168 w 184"/>
                <a:gd name="T67" fmla="*/ 6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275">
                  <a:moveTo>
                    <a:pt x="168" y="6"/>
                  </a:moveTo>
                  <a:cubicBezTo>
                    <a:pt x="168" y="89"/>
                    <a:pt x="168" y="89"/>
                    <a:pt x="168" y="89"/>
                  </a:cubicBezTo>
                  <a:cubicBezTo>
                    <a:pt x="151" y="89"/>
                    <a:pt x="151" y="89"/>
                    <a:pt x="151" y="89"/>
                  </a:cubicBezTo>
                  <a:cubicBezTo>
                    <a:pt x="141" y="41"/>
                    <a:pt x="119" y="17"/>
                    <a:pt x="84" y="17"/>
                  </a:cubicBezTo>
                  <a:cubicBezTo>
                    <a:pt x="71" y="17"/>
                    <a:pt x="61" y="21"/>
                    <a:pt x="53" y="28"/>
                  </a:cubicBezTo>
                  <a:cubicBezTo>
                    <a:pt x="45" y="36"/>
                    <a:pt x="41" y="46"/>
                    <a:pt x="41" y="57"/>
                  </a:cubicBezTo>
                  <a:cubicBezTo>
                    <a:pt x="41" y="70"/>
                    <a:pt x="46" y="80"/>
                    <a:pt x="58" y="88"/>
                  </a:cubicBezTo>
                  <a:cubicBezTo>
                    <a:pt x="63" y="92"/>
                    <a:pt x="74" y="96"/>
                    <a:pt x="88" y="101"/>
                  </a:cubicBezTo>
                  <a:cubicBezTo>
                    <a:pt x="120" y="111"/>
                    <a:pt x="142" y="120"/>
                    <a:pt x="152" y="128"/>
                  </a:cubicBezTo>
                  <a:cubicBezTo>
                    <a:pt x="173" y="144"/>
                    <a:pt x="184" y="165"/>
                    <a:pt x="184" y="191"/>
                  </a:cubicBezTo>
                  <a:cubicBezTo>
                    <a:pt x="184" y="217"/>
                    <a:pt x="175" y="238"/>
                    <a:pt x="156" y="255"/>
                  </a:cubicBezTo>
                  <a:cubicBezTo>
                    <a:pt x="141" y="269"/>
                    <a:pt x="121" y="275"/>
                    <a:pt x="98" y="275"/>
                  </a:cubicBezTo>
                  <a:cubicBezTo>
                    <a:pt x="84" y="275"/>
                    <a:pt x="71" y="273"/>
                    <a:pt x="59" y="268"/>
                  </a:cubicBezTo>
                  <a:cubicBezTo>
                    <a:pt x="55" y="266"/>
                    <a:pt x="46" y="262"/>
                    <a:pt x="33" y="254"/>
                  </a:cubicBezTo>
                  <a:cubicBezTo>
                    <a:pt x="31" y="253"/>
                    <a:pt x="28" y="252"/>
                    <a:pt x="26" y="252"/>
                  </a:cubicBezTo>
                  <a:cubicBezTo>
                    <a:pt x="23" y="252"/>
                    <a:pt x="19" y="258"/>
                    <a:pt x="16" y="270"/>
                  </a:cubicBezTo>
                  <a:cubicBezTo>
                    <a:pt x="0" y="270"/>
                    <a:pt x="0" y="270"/>
                    <a:pt x="0" y="270"/>
                  </a:cubicBezTo>
                  <a:cubicBezTo>
                    <a:pt x="0" y="172"/>
                    <a:pt x="0" y="172"/>
                    <a:pt x="0" y="172"/>
                  </a:cubicBezTo>
                  <a:cubicBezTo>
                    <a:pt x="16" y="172"/>
                    <a:pt x="16" y="172"/>
                    <a:pt x="16" y="172"/>
                  </a:cubicBezTo>
                  <a:cubicBezTo>
                    <a:pt x="22" y="196"/>
                    <a:pt x="29" y="214"/>
                    <a:pt x="37" y="224"/>
                  </a:cubicBezTo>
                  <a:cubicBezTo>
                    <a:pt x="44" y="234"/>
                    <a:pt x="52" y="242"/>
                    <a:pt x="63" y="248"/>
                  </a:cubicBezTo>
                  <a:cubicBezTo>
                    <a:pt x="74" y="254"/>
                    <a:pt x="85" y="257"/>
                    <a:pt x="97" y="257"/>
                  </a:cubicBezTo>
                  <a:cubicBezTo>
                    <a:pt x="112" y="257"/>
                    <a:pt x="123" y="252"/>
                    <a:pt x="131" y="242"/>
                  </a:cubicBezTo>
                  <a:cubicBezTo>
                    <a:pt x="139" y="233"/>
                    <a:pt x="144" y="222"/>
                    <a:pt x="144" y="210"/>
                  </a:cubicBezTo>
                  <a:cubicBezTo>
                    <a:pt x="144" y="193"/>
                    <a:pt x="136" y="179"/>
                    <a:pt x="120" y="170"/>
                  </a:cubicBezTo>
                  <a:cubicBezTo>
                    <a:pt x="112" y="164"/>
                    <a:pt x="95" y="158"/>
                    <a:pt x="69" y="149"/>
                  </a:cubicBezTo>
                  <a:cubicBezTo>
                    <a:pt x="52" y="144"/>
                    <a:pt x="39" y="137"/>
                    <a:pt x="28" y="128"/>
                  </a:cubicBezTo>
                  <a:cubicBezTo>
                    <a:pt x="11" y="115"/>
                    <a:pt x="2" y="97"/>
                    <a:pt x="2" y="72"/>
                  </a:cubicBezTo>
                  <a:cubicBezTo>
                    <a:pt x="2" y="50"/>
                    <a:pt x="10" y="32"/>
                    <a:pt x="26" y="19"/>
                  </a:cubicBezTo>
                  <a:cubicBezTo>
                    <a:pt x="40" y="6"/>
                    <a:pt x="58" y="0"/>
                    <a:pt x="80" y="0"/>
                  </a:cubicBezTo>
                  <a:cubicBezTo>
                    <a:pt x="99" y="0"/>
                    <a:pt x="117" y="5"/>
                    <a:pt x="134" y="16"/>
                  </a:cubicBezTo>
                  <a:cubicBezTo>
                    <a:pt x="138" y="18"/>
                    <a:pt x="140" y="19"/>
                    <a:pt x="142" y="19"/>
                  </a:cubicBezTo>
                  <a:cubicBezTo>
                    <a:pt x="146" y="19"/>
                    <a:pt x="149" y="14"/>
                    <a:pt x="151" y="6"/>
                  </a:cubicBezTo>
                  <a:lnTo>
                    <a:pt x="168" y="6"/>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p:cNvSpPr>
              <a:spLocks/>
            </p:cNvSpPr>
            <p:nvPr userDrawn="1"/>
          </p:nvSpPr>
          <p:spPr bwMode="auto">
            <a:xfrm>
              <a:off x="1585" y="3768"/>
              <a:ext cx="41" cy="42"/>
            </a:xfrm>
            <a:custGeom>
              <a:avLst/>
              <a:gdLst>
                <a:gd name="T0" fmla="*/ 0 w 41"/>
                <a:gd name="T1" fmla="*/ 42 h 42"/>
                <a:gd name="T2" fmla="*/ 0 w 41"/>
                <a:gd name="T3" fmla="*/ 0 h 42"/>
                <a:gd name="T4" fmla="*/ 22 w 41"/>
                <a:gd name="T5" fmla="*/ 0 h 42"/>
                <a:gd name="T6" fmla="*/ 41 w 41"/>
                <a:gd name="T7" fmla="*/ 0 h 42"/>
                <a:gd name="T8" fmla="*/ 41 w 41"/>
                <a:gd name="T9" fmla="*/ 42 h 42"/>
                <a:gd name="T10" fmla="*/ 0 w 41"/>
                <a:gd name="T11" fmla="*/ 42 h 42"/>
              </a:gdLst>
              <a:ahLst/>
              <a:cxnLst>
                <a:cxn ang="0">
                  <a:pos x="T0" y="T1"/>
                </a:cxn>
                <a:cxn ang="0">
                  <a:pos x="T2" y="T3"/>
                </a:cxn>
                <a:cxn ang="0">
                  <a:pos x="T4" y="T5"/>
                </a:cxn>
                <a:cxn ang="0">
                  <a:pos x="T6" y="T7"/>
                </a:cxn>
                <a:cxn ang="0">
                  <a:pos x="T8" y="T9"/>
                </a:cxn>
                <a:cxn ang="0">
                  <a:pos x="T10" y="T11"/>
                </a:cxn>
              </a:cxnLst>
              <a:rect l="0" t="0" r="r" b="b"/>
              <a:pathLst>
                <a:path w="41" h="42">
                  <a:moveTo>
                    <a:pt x="0" y="42"/>
                  </a:moveTo>
                  <a:lnTo>
                    <a:pt x="0" y="0"/>
                  </a:lnTo>
                  <a:lnTo>
                    <a:pt x="22" y="0"/>
                  </a:lnTo>
                  <a:lnTo>
                    <a:pt x="41" y="0"/>
                  </a:lnTo>
                  <a:lnTo>
                    <a:pt x="41" y="42"/>
                  </a:lnTo>
                  <a:lnTo>
                    <a:pt x="0" y="42"/>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72" r:id="rId12"/>
    <p:sldLayoutId id="2147483971" r:id="rId13"/>
    <p:sldLayoutId id="2147483973" r:id="rId14"/>
    <p:sldLayoutId id="2147483716" r:id="rId15"/>
    <p:sldLayoutId id="2147483718" r:id="rId16"/>
    <p:sldLayoutId id="2147483722" r:id="rId17"/>
    <p:sldLayoutId id="2147483723" r:id="rId18"/>
    <p:sldLayoutId id="2147483969" r:id="rId19"/>
    <p:sldLayoutId id="2147483970" r:id="rId20"/>
    <p:sldLayoutId id="2147483898" r:id="rId21"/>
    <p:sldLayoutId id="2147483711" r:id="rId22"/>
    <p:sldLayoutId id="2147483930" r:id="rId23"/>
    <p:sldLayoutId id="2147483959" r:id="rId24"/>
    <p:sldLayoutId id="2147483960"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marL="0" indent="0" algn="l" defTabSz="457322" rtl="0" eaLnBrk="1" fontAlgn="base" hangingPunct="1">
        <a:lnSpc>
          <a:spcPct val="90000"/>
        </a:lnSpc>
        <a:spcBef>
          <a:spcPts val="0"/>
        </a:spcBef>
        <a:spcAft>
          <a:spcPct val="0"/>
        </a:spcAft>
        <a:defRPr lang="de-DE" sz="3200" kern="1200" dirty="0">
          <a:solidFill>
            <a:schemeClr val="tx2"/>
          </a:solidFill>
          <a:latin typeface="TeleGrotesk Headline Ultra" pitchFamily="2" charset="0"/>
          <a:ea typeface="+mj-ea"/>
          <a:cs typeface="TeleGrotesk Headline Ultra" pitchFamily="2" charset="0"/>
        </a:defRPr>
      </a:lvl1pPr>
      <a:lvl2pPr algn="l" defTabSz="576226" rtl="0" eaLnBrk="1" fontAlgn="base" hangingPunct="1">
        <a:lnSpc>
          <a:spcPct val="90000"/>
        </a:lnSpc>
        <a:spcBef>
          <a:spcPct val="0"/>
        </a:spcBef>
        <a:spcAft>
          <a:spcPct val="0"/>
        </a:spcAft>
        <a:defRPr sz="3700">
          <a:solidFill>
            <a:schemeClr val="tx2"/>
          </a:solidFill>
          <a:latin typeface="Tele-GroteskUlt" pitchFamily="2" charset="0"/>
        </a:defRPr>
      </a:lvl2pPr>
      <a:lvl3pPr algn="l" defTabSz="576226" rtl="0" eaLnBrk="1" fontAlgn="base" hangingPunct="1">
        <a:lnSpc>
          <a:spcPct val="90000"/>
        </a:lnSpc>
        <a:spcBef>
          <a:spcPct val="0"/>
        </a:spcBef>
        <a:spcAft>
          <a:spcPct val="0"/>
        </a:spcAft>
        <a:defRPr sz="3700">
          <a:solidFill>
            <a:schemeClr val="tx2"/>
          </a:solidFill>
          <a:latin typeface="Tele-GroteskUlt" pitchFamily="2" charset="0"/>
        </a:defRPr>
      </a:lvl3pPr>
      <a:lvl4pPr algn="l" defTabSz="576226" rtl="0" eaLnBrk="1" fontAlgn="base" hangingPunct="1">
        <a:lnSpc>
          <a:spcPct val="90000"/>
        </a:lnSpc>
        <a:spcBef>
          <a:spcPct val="0"/>
        </a:spcBef>
        <a:spcAft>
          <a:spcPct val="0"/>
        </a:spcAft>
        <a:defRPr sz="3700">
          <a:solidFill>
            <a:schemeClr val="tx2"/>
          </a:solidFill>
          <a:latin typeface="Tele-GroteskUlt" pitchFamily="2" charset="0"/>
        </a:defRPr>
      </a:lvl4pPr>
      <a:lvl5pPr algn="l" defTabSz="576226" rtl="0" eaLnBrk="1" fontAlgn="base" hangingPunct="1">
        <a:lnSpc>
          <a:spcPct val="90000"/>
        </a:lnSpc>
        <a:spcBef>
          <a:spcPct val="0"/>
        </a:spcBef>
        <a:spcAft>
          <a:spcPct val="0"/>
        </a:spcAft>
        <a:defRPr sz="3700">
          <a:solidFill>
            <a:schemeClr val="tx2"/>
          </a:solidFill>
          <a:latin typeface="Tele-GroteskUlt" pitchFamily="2" charset="0"/>
        </a:defRPr>
      </a:lvl5pPr>
      <a:lvl6pPr marL="457171" algn="l" defTabSz="576226" rtl="0" eaLnBrk="1" fontAlgn="base" hangingPunct="1">
        <a:lnSpc>
          <a:spcPct val="90000"/>
        </a:lnSpc>
        <a:spcBef>
          <a:spcPct val="0"/>
        </a:spcBef>
        <a:spcAft>
          <a:spcPct val="0"/>
        </a:spcAft>
        <a:defRPr sz="3700">
          <a:solidFill>
            <a:schemeClr val="tx2"/>
          </a:solidFill>
          <a:latin typeface="Tele-GroteskUlt" pitchFamily="2" charset="0"/>
        </a:defRPr>
      </a:lvl6pPr>
      <a:lvl7pPr marL="914342" algn="l" defTabSz="576226" rtl="0" eaLnBrk="1" fontAlgn="base" hangingPunct="1">
        <a:lnSpc>
          <a:spcPct val="90000"/>
        </a:lnSpc>
        <a:spcBef>
          <a:spcPct val="0"/>
        </a:spcBef>
        <a:spcAft>
          <a:spcPct val="0"/>
        </a:spcAft>
        <a:defRPr sz="3700">
          <a:solidFill>
            <a:schemeClr val="tx2"/>
          </a:solidFill>
          <a:latin typeface="Tele-GroteskUlt" pitchFamily="2" charset="0"/>
        </a:defRPr>
      </a:lvl7pPr>
      <a:lvl8pPr marL="1371513" algn="l" defTabSz="576226" rtl="0" eaLnBrk="1" fontAlgn="base" hangingPunct="1">
        <a:lnSpc>
          <a:spcPct val="90000"/>
        </a:lnSpc>
        <a:spcBef>
          <a:spcPct val="0"/>
        </a:spcBef>
        <a:spcAft>
          <a:spcPct val="0"/>
        </a:spcAft>
        <a:defRPr sz="3700">
          <a:solidFill>
            <a:schemeClr val="tx2"/>
          </a:solidFill>
          <a:latin typeface="Tele-GroteskUlt" pitchFamily="2" charset="0"/>
        </a:defRPr>
      </a:lvl8pPr>
      <a:lvl9pPr marL="1828683" algn="l" defTabSz="576226" rtl="0" eaLnBrk="1" fontAlgn="base" hangingPunct="1">
        <a:lnSpc>
          <a:spcPct val="90000"/>
        </a:lnSpc>
        <a:spcBef>
          <a:spcPct val="0"/>
        </a:spcBef>
        <a:spcAft>
          <a:spcPct val="0"/>
        </a:spcAft>
        <a:defRPr sz="3700">
          <a:solidFill>
            <a:schemeClr val="tx2"/>
          </a:solidFill>
          <a:latin typeface="Tele-GroteskUlt" pitchFamily="2" charset="0"/>
        </a:defRPr>
      </a:lvl9pPr>
    </p:titleStyle>
    <p:bodyStyle>
      <a:lvl1pPr algn="l" defTabSz="576226" rtl="0" eaLnBrk="1" fontAlgn="base" hangingPunct="1">
        <a:lnSpc>
          <a:spcPct val="104000"/>
        </a:lnSpc>
        <a:spcBef>
          <a:spcPts val="1200"/>
        </a:spcBef>
        <a:spcAft>
          <a:spcPct val="0"/>
        </a:spcAft>
        <a:buClr>
          <a:schemeClr val="tx2"/>
        </a:buClr>
        <a:buFont typeface="Wingdings" pitchFamily="2" charset="2"/>
        <a:defRPr sz="1800" kern="1200">
          <a:solidFill>
            <a:schemeClr val="tx1"/>
          </a:solidFill>
          <a:latin typeface="Tele-GroteskFet" pitchFamily="2" charset="0"/>
          <a:ea typeface="+mn-ea"/>
          <a:cs typeface="+mn-cs"/>
        </a:defRPr>
      </a:lvl1pPr>
      <a:lvl2pPr marL="1588" algn="l" defTabSz="576226" rtl="0" eaLnBrk="1" fontAlgn="base" hangingPunct="1">
        <a:lnSpc>
          <a:spcPct val="104000"/>
        </a:lnSpc>
        <a:spcBef>
          <a:spcPts val="300"/>
        </a:spcBef>
        <a:spcAft>
          <a:spcPct val="0"/>
        </a:spcAft>
        <a:buClr>
          <a:schemeClr val="tx2"/>
        </a:buClr>
        <a:buFont typeface="Wingdings" pitchFamily="2" charset="2"/>
        <a:defRPr sz="1800" kern="1200">
          <a:solidFill>
            <a:schemeClr val="tx1"/>
          </a:solidFill>
          <a:latin typeface="+mn-lt"/>
          <a:ea typeface="+mn-ea"/>
          <a:cs typeface="+mn-cs"/>
        </a:defRPr>
      </a:lvl2pPr>
      <a:lvl3pPr marL="216000" indent="-216000" algn="l" defTabSz="576226" rtl="0" eaLnBrk="1" fontAlgn="base" hangingPunct="1">
        <a:lnSpc>
          <a:spcPct val="104000"/>
        </a:lnSpc>
        <a:spcBef>
          <a:spcPts val="30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3pPr>
      <a:lvl4pPr marL="432000" indent="-215886"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4pPr>
      <a:lvl5pPr marL="648000" indent="-216000"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5pPr>
      <a:lvl6pPr marL="2514440" indent="-228585" algn="l" defTabSz="457171" rtl="0" eaLnBrk="1" latinLnBrk="0" hangingPunct="1">
        <a:spcBef>
          <a:spcPct val="20000"/>
        </a:spcBef>
        <a:buFont typeface="Arial"/>
        <a:buChar char="•"/>
        <a:defRPr sz="2000" kern="1200">
          <a:solidFill>
            <a:schemeClr val="tx1"/>
          </a:solidFill>
          <a:latin typeface="+mn-lt"/>
          <a:ea typeface="+mn-ea"/>
          <a:cs typeface="+mn-cs"/>
        </a:defRPr>
      </a:lvl6pPr>
      <a:lvl7pPr marL="2971609" indent="-228585" algn="l" defTabSz="457171" rtl="0" eaLnBrk="1" latinLnBrk="0" hangingPunct="1">
        <a:spcBef>
          <a:spcPct val="20000"/>
        </a:spcBef>
        <a:buFont typeface="Arial"/>
        <a:buChar char="•"/>
        <a:defRPr sz="2000" kern="1200">
          <a:solidFill>
            <a:schemeClr val="tx1"/>
          </a:solidFill>
          <a:latin typeface="+mn-lt"/>
          <a:ea typeface="+mn-ea"/>
          <a:cs typeface="+mn-cs"/>
        </a:defRPr>
      </a:lvl7pPr>
      <a:lvl8pPr marL="3428780" indent="-228585" algn="l" defTabSz="457171" rtl="0" eaLnBrk="1" latinLnBrk="0" hangingPunct="1">
        <a:spcBef>
          <a:spcPct val="20000"/>
        </a:spcBef>
        <a:buFont typeface="Arial"/>
        <a:buChar char="•"/>
        <a:defRPr sz="2000" kern="1200">
          <a:solidFill>
            <a:schemeClr val="tx1"/>
          </a:solidFill>
          <a:latin typeface="+mn-lt"/>
          <a:ea typeface="+mn-ea"/>
          <a:cs typeface="+mn-cs"/>
        </a:defRPr>
      </a:lvl8pPr>
      <a:lvl9pPr marL="3885951" indent="-228585" algn="l" defTabSz="45717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171" rtl="0" eaLnBrk="1" latinLnBrk="0" hangingPunct="1">
        <a:defRPr sz="1800" kern="1200">
          <a:solidFill>
            <a:schemeClr val="tx1"/>
          </a:solidFill>
          <a:latin typeface="+mn-lt"/>
          <a:ea typeface="+mn-ea"/>
          <a:cs typeface="+mn-cs"/>
        </a:defRPr>
      </a:lvl1pPr>
      <a:lvl2pPr marL="457171" algn="l" defTabSz="457171" rtl="0" eaLnBrk="1" latinLnBrk="0" hangingPunct="1">
        <a:defRPr sz="1800" kern="1200">
          <a:solidFill>
            <a:schemeClr val="tx1"/>
          </a:solidFill>
          <a:latin typeface="+mn-lt"/>
          <a:ea typeface="+mn-ea"/>
          <a:cs typeface="+mn-cs"/>
        </a:defRPr>
      </a:lvl2pPr>
      <a:lvl3pPr marL="914342" algn="l" defTabSz="457171" rtl="0" eaLnBrk="1" latinLnBrk="0" hangingPunct="1">
        <a:defRPr sz="1800" kern="1200">
          <a:solidFill>
            <a:schemeClr val="tx1"/>
          </a:solidFill>
          <a:latin typeface="+mn-lt"/>
          <a:ea typeface="+mn-ea"/>
          <a:cs typeface="+mn-cs"/>
        </a:defRPr>
      </a:lvl3pPr>
      <a:lvl4pPr marL="1371513" algn="l" defTabSz="457171" rtl="0" eaLnBrk="1" latinLnBrk="0" hangingPunct="1">
        <a:defRPr sz="1800" kern="1200">
          <a:solidFill>
            <a:schemeClr val="tx1"/>
          </a:solidFill>
          <a:latin typeface="+mn-lt"/>
          <a:ea typeface="+mn-ea"/>
          <a:cs typeface="+mn-cs"/>
        </a:defRPr>
      </a:lvl4pPr>
      <a:lvl5pPr marL="1828683" algn="l" defTabSz="457171" rtl="0" eaLnBrk="1" latinLnBrk="0" hangingPunct="1">
        <a:defRPr sz="1800" kern="1200">
          <a:solidFill>
            <a:schemeClr val="tx1"/>
          </a:solidFill>
          <a:latin typeface="+mn-lt"/>
          <a:ea typeface="+mn-ea"/>
          <a:cs typeface="+mn-cs"/>
        </a:defRPr>
      </a:lvl5pPr>
      <a:lvl6pPr marL="2285854" algn="l" defTabSz="457171" rtl="0" eaLnBrk="1" latinLnBrk="0" hangingPunct="1">
        <a:defRPr sz="1800" kern="1200">
          <a:solidFill>
            <a:schemeClr val="tx1"/>
          </a:solidFill>
          <a:latin typeface="+mn-lt"/>
          <a:ea typeface="+mn-ea"/>
          <a:cs typeface="+mn-cs"/>
        </a:defRPr>
      </a:lvl6pPr>
      <a:lvl7pPr marL="2743025" algn="l" defTabSz="457171" rtl="0" eaLnBrk="1" latinLnBrk="0" hangingPunct="1">
        <a:defRPr sz="1800" kern="1200">
          <a:solidFill>
            <a:schemeClr val="tx1"/>
          </a:solidFill>
          <a:latin typeface="+mn-lt"/>
          <a:ea typeface="+mn-ea"/>
          <a:cs typeface="+mn-cs"/>
        </a:defRPr>
      </a:lvl7pPr>
      <a:lvl8pPr marL="3200195" algn="l" defTabSz="457171" rtl="0" eaLnBrk="1" latinLnBrk="0" hangingPunct="1">
        <a:defRPr sz="1800" kern="1200">
          <a:solidFill>
            <a:schemeClr val="tx1"/>
          </a:solidFill>
          <a:latin typeface="+mn-lt"/>
          <a:ea typeface="+mn-ea"/>
          <a:cs typeface="+mn-cs"/>
        </a:defRPr>
      </a:lvl8pPr>
      <a:lvl9pPr marL="3657365" algn="l" defTabSz="45717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41" userDrawn="1">
          <p15:clr>
            <a:srgbClr val="F26B43"/>
          </p15:clr>
        </p15:guide>
        <p15:guide id="2" pos="3629" userDrawn="1">
          <p15:clr>
            <a:srgbClr val="F26B43"/>
          </p15:clr>
        </p15:guide>
        <p15:guide id="3" orient="horz" pos="930" userDrawn="1">
          <p15:clr>
            <a:srgbClr val="F26B43"/>
          </p15:clr>
        </p15:guide>
        <p15:guide id="4" orient="horz" pos="3470" userDrawn="1">
          <p15:clr>
            <a:srgbClr val="F26B43"/>
          </p15:clr>
        </p15:guide>
        <p15:guide id="5" orient="horz" pos="3878" userDrawn="1">
          <p15:clr>
            <a:srgbClr val="F26B43"/>
          </p15:clr>
        </p15:guide>
        <p15:guide id="6" pos="204" userDrawn="1">
          <p15:clr>
            <a:srgbClr val="F26B43"/>
          </p15:clr>
        </p15:guide>
        <p15:guide id="7" pos="7054" userDrawn="1">
          <p15:clr>
            <a:srgbClr val="F26B43"/>
          </p15:clr>
        </p15:guide>
        <p15:guide id="8" orient="horz" pos="3674" userDrawn="1">
          <p15:clr>
            <a:srgbClr val="F26B43"/>
          </p15:clr>
        </p15:guide>
        <p15:guide id="9" orient="horz" pos="3266" userDrawn="1">
          <p15:clr>
            <a:srgbClr val="F26B43"/>
          </p15:clr>
        </p15:guide>
        <p15:guide id="11" orient="horz" pos="204" userDrawn="1">
          <p15:clr>
            <a:srgbClr val="F26B43"/>
          </p15:clr>
        </p15:guide>
        <p15:guide id="12" pos="1848" userDrawn="1">
          <p15:clr>
            <a:srgbClr val="F26B43"/>
          </p15:clr>
        </p15:guide>
        <p15:guide id="13" pos="1939" userDrawn="1">
          <p15:clr>
            <a:srgbClr val="F26B43"/>
          </p15:clr>
        </p15:guide>
        <p15:guide id="14" pos="3674" userDrawn="1">
          <p15:clr>
            <a:srgbClr val="F26B43"/>
          </p15:clr>
        </p15:guide>
        <p15:guide id="15" pos="3584" userDrawn="1">
          <p15:clr>
            <a:srgbClr val="F26B43"/>
          </p15:clr>
        </p15:guide>
        <p15:guide id="16" pos="5410" userDrawn="1">
          <p15:clr>
            <a:srgbClr val="F26B43"/>
          </p15:clr>
        </p15:guide>
        <p15:guide id="17" pos="531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p:txBody>
          <a:bodyPr/>
          <a:lstStyle/>
          <a:p>
            <a:r>
              <a:rPr lang="de-DE" dirty="0" smtClean="0"/>
              <a:t>TEST Automation </a:t>
            </a:r>
            <a:r>
              <a:rPr lang="de-DE" dirty="0" err="1" smtClean="0"/>
              <a:t>maturity</a:t>
            </a:r>
            <a:r>
              <a:rPr lang="de-DE" dirty="0" smtClean="0"/>
              <a:t> </a:t>
            </a:r>
            <a:r>
              <a:rPr lang="de-DE" dirty="0" err="1" smtClean="0"/>
              <a:t>model</a:t>
            </a:r>
            <a:endParaRPr lang="en-US" dirty="0"/>
          </a:p>
        </p:txBody>
      </p:sp>
    </p:spTree>
    <p:extLst>
      <p:ext uri="{BB962C8B-B14F-4D97-AF65-F5344CB8AC3E}">
        <p14:creationId xmlns:p14="http://schemas.microsoft.com/office/powerpoint/2010/main" val="2490006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tamm</a:t>
            </a:r>
            <a:r>
              <a:rPr lang="en-US" dirty="0" smtClean="0"/>
              <a:t>: overview</a:t>
            </a:r>
            <a:endParaRPr lang="ru-RU" dirty="0"/>
          </a:p>
        </p:txBody>
      </p:sp>
      <p:sp>
        <p:nvSpPr>
          <p:cNvPr id="3" name="Slide Number Placeholder 2"/>
          <p:cNvSpPr>
            <a:spLocks noGrp="1"/>
          </p:cNvSpPr>
          <p:nvPr>
            <p:ph type="sldNum" sz="quarter" idx="11"/>
          </p:nvPr>
        </p:nvSpPr>
        <p:spPr>
          <a:xfrm>
            <a:off x="10774586" y="5832475"/>
            <a:ext cx="421414" cy="323525"/>
          </a:xfrm>
        </p:spPr>
        <p:txBody>
          <a:bodyPr/>
          <a:lstStyle/>
          <a:p>
            <a:pPr fontAlgn="base">
              <a:spcAft>
                <a:spcPct val="0"/>
              </a:spcAft>
            </a:pPr>
            <a:fld id="{31ED8236-F742-4994-B025-3D78EEC04644}" type="slidenum">
              <a:rPr lang="en-US" noProof="0" smtClean="0"/>
              <a:pPr fontAlgn="base">
                <a:spcAft>
                  <a:spcPct val="0"/>
                </a:spcAft>
              </a:pPr>
              <a:t>2</a:t>
            </a:fld>
            <a:endParaRPr lang="en-US" noProof="0" dirty="0"/>
          </a:p>
        </p:txBody>
      </p:sp>
      <p:sp>
        <p:nvSpPr>
          <p:cNvPr id="4" name="AutoShape 120"/>
          <p:cNvSpPr>
            <a:spLocks noChangeArrowheads="1"/>
          </p:cNvSpPr>
          <p:nvPr/>
        </p:nvSpPr>
        <p:spPr bwMode="auto">
          <a:xfrm>
            <a:off x="2005946" y="1072451"/>
            <a:ext cx="2569639" cy="4643947"/>
          </a:xfrm>
          <a:prstGeom prst="rect">
            <a:avLst/>
          </a:prstGeom>
          <a:solidFill>
            <a:schemeClr val="accent6"/>
          </a:solidFill>
          <a:ln w="12700" algn="ctr">
            <a:noFill/>
            <a:miter lim="800000"/>
            <a:headEnd/>
            <a:tailEnd/>
          </a:ln>
        </p:spPr>
        <p:txBody>
          <a:bodyPr lIns="108000" tIns="108000" rIns="108000" bIns="0" anchor="t" anchorCtr="0"/>
          <a:lstStyle/>
          <a:p>
            <a:pPr defTabSz="914400">
              <a:lnSpc>
                <a:spcPct val="90000"/>
              </a:lnSpc>
            </a:pPr>
            <a:r>
              <a:rPr lang="en-US" altLang="de-DE" sz="1600" dirty="0" smtClean="0">
                <a:solidFill>
                  <a:schemeClr val="bg1"/>
                </a:solidFill>
                <a:latin typeface="TeleGrotesk Headline Ultra" pitchFamily="2" charset="0"/>
              </a:rPr>
              <a:t>manual</a:t>
            </a:r>
          </a:p>
        </p:txBody>
      </p:sp>
      <p:sp>
        <p:nvSpPr>
          <p:cNvPr id="5" name="AutoShape 120"/>
          <p:cNvSpPr>
            <a:spLocks noChangeArrowheads="1"/>
          </p:cNvSpPr>
          <p:nvPr/>
        </p:nvSpPr>
        <p:spPr bwMode="auto">
          <a:xfrm>
            <a:off x="3357394" y="885071"/>
            <a:ext cx="2569639" cy="4831326"/>
          </a:xfrm>
          <a:prstGeom prst="rect">
            <a:avLst/>
          </a:prstGeom>
          <a:solidFill>
            <a:schemeClr val="accent4"/>
          </a:solidFill>
          <a:ln w="12700" algn="ctr">
            <a:noFill/>
            <a:miter lim="800000"/>
            <a:headEnd/>
            <a:tailEnd/>
          </a:ln>
        </p:spPr>
        <p:txBody>
          <a:bodyPr lIns="108000" tIns="108000" rIns="108000" bIns="0" anchor="t" anchorCtr="0"/>
          <a:lstStyle/>
          <a:p>
            <a:pPr defTabSz="914400">
              <a:lnSpc>
                <a:spcPct val="90000"/>
              </a:lnSpc>
            </a:pPr>
            <a:r>
              <a:rPr lang="en-US" altLang="de-DE" sz="1600" dirty="0" smtClean="0">
                <a:solidFill>
                  <a:schemeClr val="bg1"/>
                </a:solidFill>
                <a:latin typeface="TeleGrotesk Headline Ultra" pitchFamily="2" charset="0"/>
              </a:rPr>
              <a:t>beginning</a:t>
            </a:r>
          </a:p>
        </p:txBody>
      </p:sp>
      <p:sp>
        <p:nvSpPr>
          <p:cNvPr id="6" name="AutoShape 120"/>
          <p:cNvSpPr>
            <a:spLocks noChangeArrowheads="1"/>
          </p:cNvSpPr>
          <p:nvPr/>
        </p:nvSpPr>
        <p:spPr bwMode="auto">
          <a:xfrm>
            <a:off x="4804504" y="692258"/>
            <a:ext cx="2569639" cy="5024140"/>
          </a:xfrm>
          <a:prstGeom prst="rect">
            <a:avLst/>
          </a:prstGeom>
          <a:solidFill>
            <a:schemeClr val="accent3"/>
          </a:solidFill>
          <a:ln w="12700" algn="ctr">
            <a:noFill/>
            <a:miter lim="800000"/>
            <a:headEnd/>
            <a:tailEnd/>
          </a:ln>
        </p:spPr>
        <p:txBody>
          <a:bodyPr lIns="108000" tIns="108000" rIns="108000" bIns="0" anchor="t" anchorCtr="0"/>
          <a:lstStyle/>
          <a:p>
            <a:pPr defTabSz="914400">
              <a:lnSpc>
                <a:spcPct val="90000"/>
              </a:lnSpc>
            </a:pPr>
            <a:r>
              <a:rPr lang="en-US" altLang="de-DE" sz="1600" dirty="0" smtClean="0">
                <a:solidFill>
                  <a:schemeClr val="bg1"/>
                </a:solidFill>
                <a:latin typeface="TeleGrotesk Headline Ultra" pitchFamily="2" charset="0"/>
              </a:rPr>
              <a:t>Defined</a:t>
            </a:r>
          </a:p>
        </p:txBody>
      </p:sp>
      <p:sp>
        <p:nvSpPr>
          <p:cNvPr id="7" name="AutoShape 120"/>
          <p:cNvSpPr>
            <a:spLocks noChangeArrowheads="1"/>
          </p:cNvSpPr>
          <p:nvPr/>
        </p:nvSpPr>
        <p:spPr bwMode="auto">
          <a:xfrm>
            <a:off x="6454760" y="499890"/>
            <a:ext cx="2569639" cy="5216507"/>
          </a:xfrm>
          <a:prstGeom prst="rect">
            <a:avLst/>
          </a:prstGeom>
          <a:solidFill>
            <a:schemeClr val="accent2"/>
          </a:solidFill>
          <a:ln w="12700" algn="ctr">
            <a:noFill/>
            <a:miter lim="800000"/>
            <a:headEnd/>
            <a:tailEnd/>
          </a:ln>
        </p:spPr>
        <p:txBody>
          <a:bodyPr lIns="108000" tIns="108000" rIns="108000" bIns="0" anchor="t" anchorCtr="0"/>
          <a:lstStyle/>
          <a:p>
            <a:pPr defTabSz="914400">
              <a:lnSpc>
                <a:spcPct val="90000"/>
              </a:lnSpc>
            </a:pPr>
            <a:r>
              <a:rPr lang="en-US" altLang="de-DE" sz="1600" dirty="0" smtClean="0">
                <a:solidFill>
                  <a:schemeClr val="bg1"/>
                </a:solidFill>
                <a:latin typeface="TeleGrotesk Headline Ultra" pitchFamily="2" charset="0"/>
              </a:rPr>
              <a:t>advanced</a:t>
            </a:r>
          </a:p>
        </p:txBody>
      </p:sp>
      <p:sp>
        <p:nvSpPr>
          <p:cNvPr id="8" name="AutoShape 120"/>
          <p:cNvSpPr>
            <a:spLocks noChangeArrowheads="1"/>
          </p:cNvSpPr>
          <p:nvPr/>
        </p:nvSpPr>
        <p:spPr bwMode="auto">
          <a:xfrm>
            <a:off x="8372703" y="319100"/>
            <a:ext cx="2569639" cy="5397297"/>
          </a:xfrm>
          <a:prstGeom prst="rect">
            <a:avLst/>
          </a:prstGeom>
          <a:solidFill>
            <a:schemeClr val="accent1"/>
          </a:solidFill>
          <a:ln w="12700" algn="ctr">
            <a:noFill/>
            <a:miter lim="800000"/>
            <a:headEnd/>
            <a:tailEnd/>
          </a:ln>
        </p:spPr>
        <p:txBody>
          <a:bodyPr lIns="108000" tIns="108000" rIns="108000" bIns="0" anchor="t" anchorCtr="0"/>
          <a:lstStyle/>
          <a:p>
            <a:pPr defTabSz="914400">
              <a:lnSpc>
                <a:spcPct val="90000"/>
              </a:lnSpc>
            </a:pPr>
            <a:r>
              <a:rPr lang="en-US" altLang="de-DE" sz="1600" dirty="0" smtClean="0">
                <a:solidFill>
                  <a:schemeClr val="bg1"/>
                </a:solidFill>
                <a:latin typeface="TeleGrotesk Headline Ultra" pitchFamily="2" charset="0"/>
              </a:rPr>
              <a:t>matured</a:t>
            </a:r>
          </a:p>
        </p:txBody>
      </p:sp>
      <p:sp>
        <p:nvSpPr>
          <p:cNvPr id="9" name="Rectangle 8"/>
          <p:cNvSpPr/>
          <p:nvPr/>
        </p:nvSpPr>
        <p:spPr bwMode="gray">
          <a:xfrm>
            <a:off x="1934545" y="4158970"/>
            <a:ext cx="9028234" cy="607848"/>
          </a:xfrm>
          <a:prstGeom prst="rect">
            <a:avLst/>
          </a:prstGeom>
          <a:solidFill>
            <a:schemeClr val="bg1">
              <a:alpha val="63000"/>
            </a:schemeClr>
          </a:solidFill>
          <a:ln w="19050" algn="ctr">
            <a:no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ru-RU" sz="1800" dirty="0" smtClean="0">
              <a:latin typeface="Tele-GroteskNor" pitchFamily="2" charset="0"/>
              <a:cs typeface="Arial Unicode MS" panose="020B0604020202020204" pitchFamily="34" charset="-128"/>
            </a:endParaRPr>
          </a:p>
        </p:txBody>
      </p:sp>
      <p:sp>
        <p:nvSpPr>
          <p:cNvPr id="10" name="Rectangle 9"/>
          <p:cNvSpPr/>
          <p:nvPr/>
        </p:nvSpPr>
        <p:spPr bwMode="gray">
          <a:xfrm>
            <a:off x="1907924" y="3376025"/>
            <a:ext cx="9040602" cy="752144"/>
          </a:xfrm>
          <a:prstGeom prst="rect">
            <a:avLst/>
          </a:prstGeom>
          <a:solidFill>
            <a:schemeClr val="bg1">
              <a:alpha val="63000"/>
            </a:schemeClr>
          </a:solidFill>
          <a:ln w="19050" algn="ctr">
            <a:no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ru-RU" sz="1800" dirty="0" smtClean="0">
              <a:latin typeface="Tele-GroteskNor" pitchFamily="2" charset="0"/>
              <a:cs typeface="Arial Unicode MS" panose="020B0604020202020204" pitchFamily="34" charset="-128"/>
            </a:endParaRPr>
          </a:p>
        </p:txBody>
      </p:sp>
      <p:sp>
        <p:nvSpPr>
          <p:cNvPr id="11" name="Rectangle 10"/>
          <p:cNvSpPr/>
          <p:nvPr/>
        </p:nvSpPr>
        <p:spPr bwMode="gray">
          <a:xfrm>
            <a:off x="1685508" y="2740829"/>
            <a:ext cx="9264324" cy="602216"/>
          </a:xfrm>
          <a:prstGeom prst="rect">
            <a:avLst/>
          </a:prstGeom>
          <a:solidFill>
            <a:schemeClr val="bg1">
              <a:alpha val="63000"/>
            </a:schemeClr>
          </a:solidFill>
          <a:ln w="19050" algn="ctr">
            <a:no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ru-RU" sz="1800" dirty="0" smtClean="0">
              <a:latin typeface="Tele-GroteskNor" pitchFamily="2" charset="0"/>
              <a:cs typeface="Arial Unicode MS" panose="020B0604020202020204" pitchFamily="34" charset="-128"/>
            </a:endParaRPr>
          </a:p>
        </p:txBody>
      </p:sp>
      <p:sp>
        <p:nvSpPr>
          <p:cNvPr id="12" name="Rectangle 11"/>
          <p:cNvSpPr/>
          <p:nvPr/>
        </p:nvSpPr>
        <p:spPr bwMode="gray">
          <a:xfrm>
            <a:off x="1914108" y="1403000"/>
            <a:ext cx="9094996" cy="1308348"/>
          </a:xfrm>
          <a:prstGeom prst="rect">
            <a:avLst/>
          </a:prstGeom>
          <a:solidFill>
            <a:schemeClr val="bg1">
              <a:alpha val="63000"/>
            </a:schemeClr>
          </a:solidFill>
          <a:ln w="19050" algn="ctr">
            <a:no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ru-RU" sz="1800" dirty="0" smtClean="0">
              <a:latin typeface="Tele-GroteskNor" pitchFamily="2" charset="0"/>
              <a:cs typeface="Arial Unicode MS" panose="020B0604020202020204" pitchFamily="34" charset="-128"/>
            </a:endParaRPr>
          </a:p>
        </p:txBody>
      </p:sp>
      <p:sp>
        <p:nvSpPr>
          <p:cNvPr id="13" name="AutoShape 120"/>
          <p:cNvSpPr>
            <a:spLocks noChangeArrowheads="1"/>
          </p:cNvSpPr>
          <p:nvPr/>
        </p:nvSpPr>
        <p:spPr bwMode="auto">
          <a:xfrm>
            <a:off x="823210" y="3472151"/>
            <a:ext cx="961457" cy="559891"/>
          </a:xfrm>
          <a:prstGeom prst="rect">
            <a:avLst/>
          </a:prstGeom>
          <a:noFill/>
          <a:ln w="12700" algn="ctr">
            <a:noFill/>
            <a:miter lim="800000"/>
            <a:headEnd/>
            <a:tailEnd/>
          </a:ln>
          <a:effectLst/>
        </p:spPr>
        <p:txBody>
          <a:bodyPr lIns="108000" tIns="108000" rIns="0" bIns="0" anchor="t" anchorCtr="0"/>
          <a:lstStyle/>
          <a:p>
            <a:pPr defTabSz="914400">
              <a:lnSpc>
                <a:spcPct val="90000"/>
              </a:lnSpc>
            </a:pPr>
            <a:r>
              <a:rPr lang="en-US" sz="1200" dirty="0" smtClean="0">
                <a:solidFill>
                  <a:srgbClr val="6B6B6B"/>
                </a:solidFill>
                <a:latin typeface="Tele-GroteskFet" pitchFamily="2" charset="0"/>
                <a:ea typeface="Tele-GroteskFet" pitchFamily="2" charset="0"/>
                <a:cs typeface="Tele-GroteskFet" pitchFamily="2" charset="0"/>
              </a:rPr>
              <a:t>Test </a:t>
            </a:r>
          </a:p>
          <a:p>
            <a:pPr defTabSz="914400">
              <a:lnSpc>
                <a:spcPct val="90000"/>
              </a:lnSpc>
            </a:pPr>
            <a:r>
              <a:rPr lang="en-US" sz="1200" dirty="0" smtClean="0">
                <a:solidFill>
                  <a:srgbClr val="6B6B6B"/>
                </a:solidFill>
                <a:latin typeface="Tele-GroteskFet" pitchFamily="2" charset="0"/>
                <a:ea typeface="Tele-GroteskFet" pitchFamily="2" charset="0"/>
                <a:cs typeface="Tele-GroteskFet" pitchFamily="2" charset="0"/>
              </a:rPr>
              <a:t>Execution</a:t>
            </a:r>
            <a:endParaRPr lang="en-US" sz="1200" dirty="0">
              <a:solidFill>
                <a:srgbClr val="6B6B6B"/>
              </a:solidFill>
              <a:latin typeface="Tele-GroteskFet" pitchFamily="2" charset="0"/>
              <a:ea typeface="Tele-GroteskFet" pitchFamily="2" charset="0"/>
              <a:cs typeface="Tele-GroteskFet" pitchFamily="2" charset="0"/>
            </a:endParaRPr>
          </a:p>
        </p:txBody>
      </p:sp>
      <p:sp>
        <p:nvSpPr>
          <p:cNvPr id="14" name="AutoShape 120"/>
          <p:cNvSpPr>
            <a:spLocks noChangeArrowheads="1"/>
          </p:cNvSpPr>
          <p:nvPr/>
        </p:nvSpPr>
        <p:spPr bwMode="auto">
          <a:xfrm>
            <a:off x="826595" y="2740829"/>
            <a:ext cx="958072" cy="598255"/>
          </a:xfrm>
          <a:prstGeom prst="rect">
            <a:avLst/>
          </a:prstGeom>
          <a:noFill/>
          <a:ln w="12700" algn="ctr">
            <a:noFill/>
            <a:miter lim="800000"/>
            <a:headEnd/>
            <a:tailEnd/>
          </a:ln>
          <a:effectLst/>
        </p:spPr>
        <p:txBody>
          <a:bodyPr lIns="108000" tIns="108000" rIns="0" bIns="0" anchor="t" anchorCtr="0"/>
          <a:lstStyle/>
          <a:p>
            <a:pPr defTabSz="914400">
              <a:lnSpc>
                <a:spcPct val="90000"/>
              </a:lnSpc>
            </a:pPr>
            <a:r>
              <a:rPr lang="en-US" sz="1200" dirty="0" smtClean="0">
                <a:solidFill>
                  <a:srgbClr val="6B6B6B"/>
                </a:solidFill>
                <a:latin typeface="Tele-GroteskFet" pitchFamily="2" charset="0"/>
                <a:ea typeface="Tele-GroteskFet" pitchFamily="2" charset="0"/>
                <a:cs typeface="Tele-GroteskFet" pitchFamily="2" charset="0"/>
              </a:rPr>
              <a:t>Test </a:t>
            </a:r>
          </a:p>
          <a:p>
            <a:pPr defTabSz="914400">
              <a:lnSpc>
                <a:spcPct val="90000"/>
              </a:lnSpc>
            </a:pPr>
            <a:r>
              <a:rPr lang="en-US" sz="1200" dirty="0">
                <a:solidFill>
                  <a:srgbClr val="6B6B6B"/>
                </a:solidFill>
                <a:latin typeface="Tele-GroteskFet" pitchFamily="2" charset="0"/>
                <a:ea typeface="Tele-GroteskFet" pitchFamily="2" charset="0"/>
                <a:cs typeface="Tele-GroteskFet" pitchFamily="2" charset="0"/>
              </a:rPr>
              <a:t>S</a:t>
            </a:r>
            <a:r>
              <a:rPr lang="en-US" sz="1200" dirty="0" smtClean="0">
                <a:solidFill>
                  <a:srgbClr val="6B6B6B"/>
                </a:solidFill>
                <a:latin typeface="Tele-GroteskFet" pitchFamily="2" charset="0"/>
                <a:ea typeface="Tele-GroteskFet" pitchFamily="2" charset="0"/>
                <a:cs typeface="Tele-GroteskFet" pitchFamily="2" charset="0"/>
              </a:rPr>
              <a:t>trategy</a:t>
            </a:r>
            <a:endParaRPr lang="en-US" sz="1200" dirty="0">
              <a:solidFill>
                <a:srgbClr val="6B6B6B"/>
              </a:solidFill>
              <a:latin typeface="Tele-GroteskFet" pitchFamily="2" charset="0"/>
              <a:ea typeface="Tele-GroteskFet" pitchFamily="2" charset="0"/>
              <a:cs typeface="Tele-GroteskFet" pitchFamily="2" charset="0"/>
            </a:endParaRPr>
          </a:p>
        </p:txBody>
      </p:sp>
      <p:sp>
        <p:nvSpPr>
          <p:cNvPr id="15" name="AutoShape 120"/>
          <p:cNvSpPr>
            <a:spLocks noChangeArrowheads="1"/>
          </p:cNvSpPr>
          <p:nvPr/>
        </p:nvSpPr>
        <p:spPr bwMode="auto">
          <a:xfrm>
            <a:off x="800820" y="4200083"/>
            <a:ext cx="976207" cy="386738"/>
          </a:xfrm>
          <a:prstGeom prst="rect">
            <a:avLst/>
          </a:prstGeom>
          <a:noFill/>
          <a:ln w="12700" algn="ctr">
            <a:noFill/>
            <a:miter lim="800000"/>
            <a:headEnd/>
            <a:tailEnd/>
          </a:ln>
          <a:effectLst/>
        </p:spPr>
        <p:txBody>
          <a:bodyPr lIns="108000" tIns="108000" rIns="0" bIns="0" anchor="t" anchorCtr="0"/>
          <a:lstStyle/>
          <a:p>
            <a:pPr defTabSz="914400">
              <a:lnSpc>
                <a:spcPct val="90000"/>
              </a:lnSpc>
            </a:pPr>
            <a:r>
              <a:rPr lang="en-US" sz="1200" dirty="0" smtClean="0">
                <a:solidFill>
                  <a:srgbClr val="6B6B6B"/>
                </a:solidFill>
                <a:latin typeface="Tele-GroteskFet" pitchFamily="2" charset="0"/>
                <a:ea typeface="Tele-GroteskFet" pitchFamily="2" charset="0"/>
                <a:cs typeface="Tele-GroteskFet" pitchFamily="2" charset="0"/>
              </a:rPr>
              <a:t>Defect</a:t>
            </a:r>
          </a:p>
          <a:p>
            <a:pPr defTabSz="914400">
              <a:lnSpc>
                <a:spcPct val="90000"/>
              </a:lnSpc>
            </a:pPr>
            <a:r>
              <a:rPr lang="en-US" sz="1200" dirty="0" smtClean="0">
                <a:solidFill>
                  <a:srgbClr val="6B6B6B"/>
                </a:solidFill>
                <a:latin typeface="Tele-GroteskFet" pitchFamily="2" charset="0"/>
                <a:ea typeface="Tele-GroteskFet" pitchFamily="2" charset="0"/>
                <a:cs typeface="Tele-GroteskFet" pitchFamily="2" charset="0"/>
              </a:rPr>
              <a:t>Managing</a:t>
            </a:r>
            <a:endParaRPr lang="en-US" sz="1200" dirty="0">
              <a:solidFill>
                <a:srgbClr val="6B6B6B"/>
              </a:solidFill>
              <a:latin typeface="Tele-GroteskFet" pitchFamily="2" charset="0"/>
              <a:ea typeface="Tele-GroteskFet" pitchFamily="2" charset="0"/>
              <a:cs typeface="Tele-GroteskFet" pitchFamily="2" charset="0"/>
            </a:endParaRPr>
          </a:p>
        </p:txBody>
      </p:sp>
      <p:sp>
        <p:nvSpPr>
          <p:cNvPr id="17" name="TextBox 16"/>
          <p:cNvSpPr txBox="1"/>
          <p:nvPr/>
        </p:nvSpPr>
        <p:spPr>
          <a:xfrm>
            <a:off x="8330218" y="1416558"/>
            <a:ext cx="2622225" cy="1057588"/>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800" dirty="0">
                <a:solidFill>
                  <a:srgbClr val="464646"/>
                </a:solidFill>
              </a:rPr>
              <a:t>Script less Test Framework with extremely intuitive GIU can scale across complete QA and Dev teams, test automation tools, development technologies and any complex </a:t>
            </a:r>
            <a:r>
              <a:rPr lang="en-US" sz="800" dirty="0" smtClean="0">
                <a:solidFill>
                  <a:srgbClr val="464646"/>
                </a:solidFill>
              </a:rPr>
              <a:t>scenarios</a:t>
            </a:r>
            <a:endParaRPr lang="en-US" sz="800" dirty="0">
              <a:solidFill>
                <a:srgbClr val="464646"/>
              </a:solidFill>
            </a:endParaRPr>
          </a:p>
          <a:p>
            <a:pPr marL="72000" indent="-72000">
              <a:buClr>
                <a:schemeClr val="tx1"/>
              </a:buClr>
              <a:buSzPct val="80000"/>
              <a:buFont typeface="Wingdings" panose="05000000000000000000" pitchFamily="2" charset="2"/>
              <a:buChar char="§"/>
            </a:pPr>
            <a:r>
              <a:rPr lang="en-US" sz="800" dirty="0">
                <a:solidFill>
                  <a:srgbClr val="464646"/>
                </a:solidFill>
              </a:rPr>
              <a:t>Test Framework implementation re-use some test concept (ex, keyword-driven, data-driven etc.). Test cases can be developed by a manual QA Engineer and fits in test automation pyramid (UI-Middle-Unit level</a:t>
            </a:r>
            <a:r>
              <a:rPr lang="en-US" sz="800" dirty="0" smtClean="0">
                <a:solidFill>
                  <a:srgbClr val="464646"/>
                </a:solidFill>
              </a:rPr>
              <a:t>)</a:t>
            </a:r>
            <a:endParaRPr lang="en-US" sz="800" dirty="0">
              <a:solidFill>
                <a:srgbClr val="464646"/>
              </a:solidFill>
            </a:endParaRPr>
          </a:p>
          <a:p>
            <a:pPr marL="72000" indent="-72000">
              <a:buClr>
                <a:schemeClr val="tx1"/>
              </a:buClr>
              <a:buSzPct val="80000"/>
              <a:buFont typeface="Wingdings" panose="05000000000000000000" pitchFamily="2" charset="2"/>
              <a:buChar char="§"/>
            </a:pPr>
            <a:r>
              <a:rPr lang="en-US" sz="800" dirty="0">
                <a:solidFill>
                  <a:srgbClr val="464646"/>
                </a:solidFill>
              </a:rPr>
              <a:t>100% of Test cases are automatic</a:t>
            </a:r>
          </a:p>
        </p:txBody>
      </p:sp>
      <p:sp>
        <p:nvSpPr>
          <p:cNvPr id="18" name="TextBox 17"/>
          <p:cNvSpPr txBox="1"/>
          <p:nvPr/>
        </p:nvSpPr>
        <p:spPr>
          <a:xfrm>
            <a:off x="2012513" y="1416558"/>
            <a:ext cx="1357015" cy="365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950" dirty="0">
                <a:solidFill>
                  <a:srgbClr val="464646"/>
                </a:solidFill>
              </a:rPr>
              <a:t>No test </a:t>
            </a:r>
            <a:r>
              <a:rPr lang="en-US" sz="950" dirty="0" smtClean="0">
                <a:solidFill>
                  <a:srgbClr val="464646"/>
                </a:solidFill>
              </a:rPr>
              <a:t>automation</a:t>
            </a:r>
            <a:endParaRPr lang="en-US" sz="950" dirty="0">
              <a:solidFill>
                <a:srgbClr val="464646"/>
              </a:solidFill>
            </a:endParaRPr>
          </a:p>
          <a:p>
            <a:pPr marL="72000" indent="-72000">
              <a:buClr>
                <a:schemeClr val="tx1"/>
              </a:buClr>
              <a:buSzPct val="80000"/>
              <a:buFont typeface="Wingdings" panose="05000000000000000000" pitchFamily="2" charset="2"/>
              <a:buChar char="§"/>
            </a:pPr>
            <a:r>
              <a:rPr lang="en-US" sz="950" dirty="0">
                <a:solidFill>
                  <a:srgbClr val="464646"/>
                </a:solidFill>
              </a:rPr>
              <a:t>100% manual test cases </a:t>
            </a:r>
            <a:endParaRPr lang="en-US" sz="950" dirty="0" smtClean="0">
              <a:solidFill>
                <a:srgbClr val="464646"/>
              </a:solidFill>
            </a:endParaRPr>
          </a:p>
        </p:txBody>
      </p:sp>
      <p:sp>
        <p:nvSpPr>
          <p:cNvPr id="19" name="TextBox 18"/>
          <p:cNvSpPr txBox="1"/>
          <p:nvPr/>
        </p:nvSpPr>
        <p:spPr>
          <a:xfrm>
            <a:off x="3331997" y="1416558"/>
            <a:ext cx="1472507" cy="1096060"/>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950" dirty="0" smtClean="0">
                <a:solidFill>
                  <a:srgbClr val="464646"/>
                </a:solidFill>
              </a:rPr>
              <a:t>Test </a:t>
            </a:r>
            <a:r>
              <a:rPr lang="en-US" sz="950" dirty="0">
                <a:solidFill>
                  <a:srgbClr val="464646"/>
                </a:solidFill>
              </a:rPr>
              <a:t>cases automated  through scripting </a:t>
            </a:r>
            <a:r>
              <a:rPr lang="en-US" sz="950" dirty="0" smtClean="0">
                <a:solidFill>
                  <a:srgbClr val="464646"/>
                </a:solidFill>
              </a:rPr>
              <a:t>methodologies</a:t>
            </a:r>
            <a:endParaRPr lang="en-US" sz="950" dirty="0">
              <a:solidFill>
                <a:srgbClr val="464646"/>
              </a:solidFill>
            </a:endParaRPr>
          </a:p>
          <a:p>
            <a:pPr marL="72000" indent="-72000">
              <a:buClr>
                <a:schemeClr val="tx1"/>
              </a:buClr>
              <a:buSzPct val="80000"/>
              <a:buFont typeface="Wingdings" panose="05000000000000000000" pitchFamily="2" charset="2"/>
              <a:buChar char="§"/>
            </a:pPr>
            <a:r>
              <a:rPr lang="en-US" sz="950" dirty="0">
                <a:solidFill>
                  <a:srgbClr val="464646"/>
                </a:solidFill>
              </a:rPr>
              <a:t>Test automation suite exists, but automatic test cases are not excluded from manual test plan</a:t>
            </a:r>
            <a:endParaRPr lang="en-US" sz="950" dirty="0" smtClean="0">
              <a:solidFill>
                <a:srgbClr val="464646"/>
              </a:solidFill>
            </a:endParaRPr>
          </a:p>
        </p:txBody>
      </p:sp>
      <p:sp>
        <p:nvSpPr>
          <p:cNvPr id="20" name="TextBox 19"/>
          <p:cNvSpPr txBox="1"/>
          <p:nvPr/>
        </p:nvSpPr>
        <p:spPr>
          <a:xfrm>
            <a:off x="4804505" y="1395144"/>
            <a:ext cx="1650256" cy="1057588"/>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800" dirty="0">
                <a:solidFill>
                  <a:srgbClr val="464646"/>
                </a:solidFill>
              </a:rPr>
              <a:t>Test cases developed in Test Framework, </a:t>
            </a:r>
            <a:r>
              <a:rPr lang="en-US" sz="800" dirty="0" smtClean="0">
                <a:solidFill>
                  <a:srgbClr val="464646"/>
                </a:solidFill>
              </a:rPr>
              <a:t>which gather </a:t>
            </a:r>
            <a:r>
              <a:rPr lang="en-US" sz="800" dirty="0">
                <a:solidFill>
                  <a:srgbClr val="464646"/>
                </a:solidFill>
              </a:rPr>
              <a:t>test </a:t>
            </a:r>
            <a:r>
              <a:rPr lang="en-US" sz="800" dirty="0" smtClean="0">
                <a:solidFill>
                  <a:srgbClr val="464646"/>
                </a:solidFill>
              </a:rPr>
              <a:t>results &amp; logs</a:t>
            </a:r>
            <a:r>
              <a:rPr lang="en-US" sz="800" dirty="0">
                <a:solidFill>
                  <a:srgbClr val="464646"/>
                </a:solidFill>
              </a:rPr>
              <a:t>, generates test </a:t>
            </a:r>
            <a:r>
              <a:rPr lang="en-US" sz="800" dirty="0" smtClean="0">
                <a:solidFill>
                  <a:srgbClr val="464646"/>
                </a:solidFill>
              </a:rPr>
              <a:t>reports</a:t>
            </a:r>
            <a:endParaRPr lang="en-US" sz="800" dirty="0">
              <a:solidFill>
                <a:srgbClr val="464646"/>
              </a:solidFill>
            </a:endParaRPr>
          </a:p>
          <a:p>
            <a:pPr marL="72000" indent="-72000">
              <a:buClr>
                <a:schemeClr val="tx1"/>
              </a:buClr>
              <a:buSzPct val="80000"/>
              <a:buFont typeface="Wingdings" panose="05000000000000000000" pitchFamily="2" charset="2"/>
              <a:buChar char="§"/>
            </a:pPr>
            <a:r>
              <a:rPr lang="en-US" sz="800" dirty="0">
                <a:solidFill>
                  <a:srgbClr val="464646"/>
                </a:solidFill>
              </a:rPr>
              <a:t>Sources of Test Framework and test cases are under version control </a:t>
            </a:r>
            <a:r>
              <a:rPr lang="en-US" sz="800" dirty="0" smtClean="0">
                <a:solidFill>
                  <a:srgbClr val="464646"/>
                </a:solidFill>
              </a:rPr>
              <a:t>system</a:t>
            </a:r>
            <a:endParaRPr lang="en-US" sz="800" dirty="0">
              <a:solidFill>
                <a:srgbClr val="464646"/>
              </a:solidFill>
            </a:endParaRPr>
          </a:p>
          <a:p>
            <a:pPr marL="72000" indent="-72000">
              <a:buClr>
                <a:schemeClr val="tx1"/>
              </a:buClr>
              <a:buSzPct val="80000"/>
              <a:buFont typeface="Wingdings" panose="05000000000000000000" pitchFamily="2" charset="2"/>
              <a:buChar char="§"/>
            </a:pPr>
            <a:r>
              <a:rPr lang="en-US" sz="800" dirty="0">
                <a:solidFill>
                  <a:srgbClr val="464646"/>
                </a:solidFill>
              </a:rPr>
              <a:t>Automatic test cases are permanently used and produce profit </a:t>
            </a:r>
            <a:r>
              <a:rPr lang="en-US" sz="800" dirty="0" smtClean="0">
                <a:solidFill>
                  <a:srgbClr val="464646"/>
                </a:solidFill>
              </a:rPr>
              <a:t>value and </a:t>
            </a:r>
            <a:r>
              <a:rPr lang="en-US" sz="800" dirty="0">
                <a:solidFill>
                  <a:srgbClr val="464646"/>
                </a:solidFill>
              </a:rPr>
              <a:t>no crossing with manual test cases</a:t>
            </a:r>
            <a:endParaRPr lang="en-US" sz="800" dirty="0" smtClean="0">
              <a:solidFill>
                <a:srgbClr val="464646"/>
              </a:solidFill>
            </a:endParaRPr>
          </a:p>
        </p:txBody>
      </p:sp>
      <p:sp>
        <p:nvSpPr>
          <p:cNvPr id="21" name="TextBox 20"/>
          <p:cNvSpPr txBox="1"/>
          <p:nvPr/>
        </p:nvSpPr>
        <p:spPr>
          <a:xfrm>
            <a:off x="6454761" y="1395144"/>
            <a:ext cx="1917942" cy="1303809"/>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800" dirty="0">
                <a:solidFill>
                  <a:srgbClr val="464646"/>
                </a:solidFill>
              </a:rPr>
              <a:t>Test cases are classified by levels (unit, integration, system) and types (smoke, sanity, regression, acceptance</a:t>
            </a:r>
            <a:r>
              <a:rPr lang="en-US" sz="800" dirty="0" smtClean="0">
                <a:solidFill>
                  <a:srgbClr val="464646"/>
                </a:solidFill>
              </a:rPr>
              <a:t>)</a:t>
            </a:r>
            <a:endParaRPr lang="en-US" sz="800" dirty="0">
              <a:solidFill>
                <a:srgbClr val="464646"/>
              </a:solidFill>
            </a:endParaRPr>
          </a:p>
          <a:p>
            <a:pPr marL="72000" indent="-72000">
              <a:buClr>
                <a:schemeClr val="tx1"/>
              </a:buClr>
              <a:buSzPct val="80000"/>
              <a:buFont typeface="Wingdings" panose="05000000000000000000" pitchFamily="2" charset="2"/>
              <a:buChar char="§"/>
            </a:pPr>
            <a:r>
              <a:rPr lang="en-US" sz="800" dirty="0">
                <a:solidFill>
                  <a:srgbClr val="464646"/>
                </a:solidFill>
              </a:rPr>
              <a:t>Test </a:t>
            </a:r>
            <a:r>
              <a:rPr lang="en-US" sz="800" dirty="0" smtClean="0">
                <a:solidFill>
                  <a:srgbClr val="464646"/>
                </a:solidFill>
              </a:rPr>
              <a:t>Cases </a:t>
            </a:r>
            <a:r>
              <a:rPr lang="en-US" sz="800" dirty="0">
                <a:solidFill>
                  <a:srgbClr val="464646"/>
                </a:solidFill>
              </a:rPr>
              <a:t>are organized in </a:t>
            </a:r>
            <a:r>
              <a:rPr lang="en-US" sz="800" dirty="0" smtClean="0">
                <a:solidFill>
                  <a:srgbClr val="464646"/>
                </a:solidFill>
              </a:rPr>
              <a:t>Suites/Test Plans. Test </a:t>
            </a:r>
            <a:r>
              <a:rPr lang="en-US" sz="800" dirty="0">
                <a:solidFill>
                  <a:srgbClr val="464646"/>
                </a:solidFill>
              </a:rPr>
              <a:t>cases and </a:t>
            </a:r>
            <a:r>
              <a:rPr lang="en-US" sz="800" dirty="0" smtClean="0">
                <a:solidFill>
                  <a:srgbClr val="464646"/>
                </a:solidFill>
              </a:rPr>
              <a:t>Plans </a:t>
            </a:r>
            <a:r>
              <a:rPr lang="en-US" sz="800" dirty="0">
                <a:solidFill>
                  <a:srgbClr val="464646"/>
                </a:solidFill>
              </a:rPr>
              <a:t>are mapped with </a:t>
            </a:r>
            <a:r>
              <a:rPr lang="en-US" sz="800" dirty="0" smtClean="0">
                <a:solidFill>
                  <a:srgbClr val="464646"/>
                </a:solidFill>
              </a:rPr>
              <a:t>requirements.</a:t>
            </a:r>
            <a:endParaRPr lang="en-US" sz="800" dirty="0">
              <a:solidFill>
                <a:srgbClr val="464646"/>
              </a:solidFill>
            </a:endParaRPr>
          </a:p>
          <a:p>
            <a:pPr marL="72000" indent="-72000">
              <a:buClr>
                <a:schemeClr val="tx1"/>
              </a:buClr>
              <a:buSzPct val="80000"/>
              <a:buFont typeface="Wingdings" panose="05000000000000000000" pitchFamily="2" charset="2"/>
              <a:buChar char="§"/>
            </a:pPr>
            <a:r>
              <a:rPr lang="en-US" sz="800" dirty="0">
                <a:solidFill>
                  <a:srgbClr val="464646"/>
                </a:solidFill>
              </a:rPr>
              <a:t>Test coverage is measurable by test cases </a:t>
            </a:r>
            <a:r>
              <a:rPr lang="en-US" sz="800" dirty="0" smtClean="0">
                <a:solidFill>
                  <a:srgbClr val="464646"/>
                </a:solidFill>
              </a:rPr>
              <a:t> and the </a:t>
            </a:r>
            <a:r>
              <a:rPr lang="en-US" sz="800" dirty="0">
                <a:solidFill>
                  <a:srgbClr val="464646"/>
                </a:solidFill>
              </a:rPr>
              <a:t>general level of test coverage by automatic test cases is </a:t>
            </a:r>
            <a:r>
              <a:rPr lang="en-US" sz="800" dirty="0" smtClean="0">
                <a:solidFill>
                  <a:srgbClr val="464646"/>
                </a:solidFill>
              </a:rPr>
              <a:t>higher </a:t>
            </a:r>
            <a:r>
              <a:rPr lang="en-US" sz="800" dirty="0">
                <a:solidFill>
                  <a:srgbClr val="464646"/>
                </a:solidFill>
              </a:rPr>
              <a:t>than coverage by manual </a:t>
            </a:r>
            <a:r>
              <a:rPr lang="en-US" sz="800" dirty="0" smtClean="0">
                <a:solidFill>
                  <a:srgbClr val="464646"/>
                </a:solidFill>
              </a:rPr>
              <a:t>tests</a:t>
            </a:r>
          </a:p>
        </p:txBody>
      </p:sp>
      <p:sp>
        <p:nvSpPr>
          <p:cNvPr id="22" name="TextBox 21"/>
          <p:cNvSpPr txBox="1"/>
          <p:nvPr/>
        </p:nvSpPr>
        <p:spPr>
          <a:xfrm>
            <a:off x="8364611" y="2715692"/>
            <a:ext cx="2679857" cy="688256"/>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a:buClr>
                <a:schemeClr val="tx1"/>
              </a:buClr>
              <a:buSzPct val="80000"/>
            </a:pPr>
            <a:r>
              <a:rPr lang="en-US" sz="800" dirty="0">
                <a:solidFill>
                  <a:srgbClr val="464646"/>
                </a:solidFill>
              </a:rPr>
              <a:t>Test automation ROI analysis, processes analysis and KPIs:</a:t>
            </a:r>
          </a:p>
          <a:p>
            <a:pPr marL="72000" indent="-72000">
              <a:buClr>
                <a:schemeClr val="tx1"/>
              </a:buClr>
              <a:buSzPct val="80000"/>
              <a:buFont typeface="Wingdings" panose="05000000000000000000" pitchFamily="2" charset="2"/>
              <a:buChar char="§"/>
            </a:pPr>
            <a:r>
              <a:rPr lang="en-US" sz="800" dirty="0" smtClean="0">
                <a:solidFill>
                  <a:srgbClr val="464646"/>
                </a:solidFill>
              </a:rPr>
              <a:t>automation </a:t>
            </a:r>
            <a:r>
              <a:rPr lang="en-US" sz="800" dirty="0">
                <a:solidFill>
                  <a:srgbClr val="464646"/>
                </a:solidFill>
              </a:rPr>
              <a:t>execution time per code commit</a:t>
            </a:r>
          </a:p>
          <a:p>
            <a:pPr marL="72000" indent="-72000">
              <a:buClr>
                <a:schemeClr val="tx1"/>
              </a:buClr>
              <a:buSzPct val="80000"/>
              <a:buFont typeface="Wingdings" panose="05000000000000000000" pitchFamily="2" charset="2"/>
              <a:buChar char="§"/>
            </a:pPr>
            <a:r>
              <a:rPr lang="en-US" sz="800" dirty="0" smtClean="0">
                <a:solidFill>
                  <a:srgbClr val="464646"/>
                </a:solidFill>
              </a:rPr>
              <a:t>quarantine </a:t>
            </a:r>
            <a:r>
              <a:rPr lang="en-US" sz="800" dirty="0">
                <a:solidFill>
                  <a:srgbClr val="464646"/>
                </a:solidFill>
              </a:rPr>
              <a:t>tests that have random success</a:t>
            </a:r>
          </a:p>
          <a:p>
            <a:pPr marL="72000" indent="-72000">
              <a:buClr>
                <a:schemeClr val="tx1"/>
              </a:buClr>
              <a:buSzPct val="80000"/>
              <a:buFont typeface="Wingdings" panose="05000000000000000000" pitchFamily="2" charset="2"/>
              <a:buChar char="§"/>
            </a:pPr>
            <a:r>
              <a:rPr lang="en-US" sz="800" dirty="0" smtClean="0">
                <a:solidFill>
                  <a:srgbClr val="464646"/>
                </a:solidFill>
              </a:rPr>
              <a:t>PASS-FAIL </a:t>
            </a:r>
            <a:r>
              <a:rPr lang="en-US" sz="800" dirty="0">
                <a:solidFill>
                  <a:srgbClr val="464646"/>
                </a:solidFill>
              </a:rPr>
              <a:t>rates per code commit</a:t>
            </a:r>
          </a:p>
          <a:p>
            <a:pPr marL="72000" indent="-72000">
              <a:buClr>
                <a:schemeClr val="tx1"/>
              </a:buClr>
              <a:buSzPct val="80000"/>
              <a:buFont typeface="Wingdings" panose="05000000000000000000" pitchFamily="2" charset="2"/>
              <a:buChar char="§"/>
            </a:pPr>
            <a:r>
              <a:rPr lang="en-US" sz="800" dirty="0" smtClean="0">
                <a:solidFill>
                  <a:srgbClr val="464646"/>
                </a:solidFill>
              </a:rPr>
              <a:t>capture </a:t>
            </a:r>
            <a:r>
              <a:rPr lang="en-US" sz="800" dirty="0">
                <a:solidFill>
                  <a:srgbClr val="464646"/>
                </a:solidFill>
              </a:rPr>
              <a:t>test case </a:t>
            </a:r>
            <a:r>
              <a:rPr lang="en-US" sz="800" dirty="0" smtClean="0">
                <a:solidFill>
                  <a:srgbClr val="464646"/>
                </a:solidFill>
              </a:rPr>
              <a:t>duration</a:t>
            </a:r>
            <a:r>
              <a:rPr lang="ru-RU" sz="800" dirty="0" smtClean="0">
                <a:solidFill>
                  <a:srgbClr val="464646"/>
                </a:solidFill>
              </a:rPr>
              <a:t> </a:t>
            </a:r>
            <a:r>
              <a:rPr lang="en-US" sz="800" dirty="0">
                <a:solidFill>
                  <a:srgbClr val="464646"/>
                </a:solidFill>
              </a:rPr>
              <a:t>and CI duration </a:t>
            </a:r>
            <a:r>
              <a:rPr lang="en-US" sz="800" dirty="0" smtClean="0">
                <a:solidFill>
                  <a:srgbClr val="464646"/>
                </a:solidFill>
              </a:rPr>
              <a:t>time</a:t>
            </a:r>
            <a:endParaRPr lang="en-US" sz="800" dirty="0">
              <a:solidFill>
                <a:srgbClr val="464646"/>
              </a:solidFill>
            </a:endParaRPr>
          </a:p>
        </p:txBody>
      </p:sp>
      <p:sp>
        <p:nvSpPr>
          <p:cNvPr id="23" name="TextBox 22"/>
          <p:cNvSpPr txBox="1"/>
          <p:nvPr/>
        </p:nvSpPr>
        <p:spPr>
          <a:xfrm>
            <a:off x="2005945" y="2716135"/>
            <a:ext cx="1363583" cy="511285"/>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950" dirty="0" smtClean="0">
                <a:solidFill>
                  <a:srgbClr val="464646"/>
                </a:solidFill>
              </a:rPr>
              <a:t>No </a:t>
            </a:r>
            <a:r>
              <a:rPr lang="en-US" sz="950" dirty="0">
                <a:solidFill>
                  <a:srgbClr val="464646"/>
                </a:solidFill>
              </a:rPr>
              <a:t>formal documentation and processes, odd documents</a:t>
            </a:r>
          </a:p>
        </p:txBody>
      </p:sp>
      <p:sp>
        <p:nvSpPr>
          <p:cNvPr id="24" name="TextBox 23"/>
          <p:cNvSpPr txBox="1"/>
          <p:nvPr/>
        </p:nvSpPr>
        <p:spPr>
          <a:xfrm>
            <a:off x="3349726" y="2708643"/>
            <a:ext cx="1442080" cy="511285"/>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950" dirty="0">
                <a:solidFill>
                  <a:srgbClr val="464646"/>
                </a:solidFill>
              </a:rPr>
              <a:t>Defined </a:t>
            </a:r>
            <a:r>
              <a:rPr lang="en-US" sz="950" dirty="0" smtClean="0">
                <a:solidFill>
                  <a:srgbClr val="464646"/>
                </a:solidFill>
              </a:rPr>
              <a:t>Release </a:t>
            </a:r>
            <a:r>
              <a:rPr lang="en-US" sz="950" dirty="0">
                <a:solidFill>
                  <a:srgbClr val="464646"/>
                </a:solidFill>
              </a:rPr>
              <a:t>planning and list of preparations processes</a:t>
            </a:r>
          </a:p>
        </p:txBody>
      </p:sp>
      <p:sp>
        <p:nvSpPr>
          <p:cNvPr id="25" name="TextBox 24"/>
          <p:cNvSpPr txBox="1"/>
          <p:nvPr/>
        </p:nvSpPr>
        <p:spPr>
          <a:xfrm>
            <a:off x="4808954" y="2714743"/>
            <a:ext cx="1654391" cy="657479"/>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950" dirty="0" smtClean="0">
                <a:solidFill>
                  <a:srgbClr val="464646"/>
                </a:solidFill>
              </a:rPr>
              <a:t>Test </a:t>
            </a:r>
            <a:r>
              <a:rPr lang="en-US" sz="950" dirty="0">
                <a:solidFill>
                  <a:srgbClr val="464646"/>
                </a:solidFill>
              </a:rPr>
              <a:t>Automation strategy, goals and scope. </a:t>
            </a:r>
            <a:r>
              <a:rPr lang="en-US" sz="950" dirty="0" smtClean="0">
                <a:solidFill>
                  <a:srgbClr val="464646"/>
                </a:solidFill>
              </a:rPr>
              <a:t>Permanent </a:t>
            </a:r>
            <a:r>
              <a:rPr lang="en-US" sz="950" dirty="0">
                <a:solidFill>
                  <a:srgbClr val="464646"/>
                </a:solidFill>
              </a:rPr>
              <a:t>test automation process analysis and improvement</a:t>
            </a:r>
          </a:p>
        </p:txBody>
      </p:sp>
      <p:sp>
        <p:nvSpPr>
          <p:cNvPr id="26" name="TextBox 25"/>
          <p:cNvSpPr txBox="1"/>
          <p:nvPr/>
        </p:nvSpPr>
        <p:spPr>
          <a:xfrm>
            <a:off x="6444656" y="2748982"/>
            <a:ext cx="1928046" cy="511285"/>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950" dirty="0" smtClean="0">
                <a:solidFill>
                  <a:srgbClr val="464646"/>
                </a:solidFill>
              </a:rPr>
              <a:t>Test </a:t>
            </a:r>
            <a:r>
              <a:rPr lang="en-US" sz="950" dirty="0">
                <a:solidFill>
                  <a:srgbClr val="464646"/>
                </a:solidFill>
              </a:rPr>
              <a:t>coverage and Requirements traceability matrix</a:t>
            </a:r>
            <a:r>
              <a:rPr lang="en-US" sz="950" dirty="0" smtClean="0">
                <a:solidFill>
                  <a:srgbClr val="464646"/>
                </a:solidFill>
              </a:rPr>
              <a:t>. Existed workflow </a:t>
            </a:r>
            <a:r>
              <a:rPr lang="en-US" sz="950" dirty="0">
                <a:solidFill>
                  <a:srgbClr val="464646"/>
                </a:solidFill>
              </a:rPr>
              <a:t>of test coverage assessment</a:t>
            </a:r>
            <a:endParaRPr lang="en-US" sz="950" dirty="0" smtClean="0">
              <a:solidFill>
                <a:srgbClr val="464646"/>
              </a:solidFill>
            </a:endParaRPr>
          </a:p>
        </p:txBody>
      </p:sp>
      <p:sp>
        <p:nvSpPr>
          <p:cNvPr id="27" name="TextBox 26"/>
          <p:cNvSpPr txBox="1"/>
          <p:nvPr/>
        </p:nvSpPr>
        <p:spPr>
          <a:xfrm>
            <a:off x="8366519" y="3357199"/>
            <a:ext cx="2575823" cy="31892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800" dirty="0">
                <a:solidFill>
                  <a:srgbClr val="464646"/>
                </a:solidFill>
              </a:rPr>
              <a:t>Automatic analysis of Test Results and Logs, categorization of errors and prediction from regressions/issues</a:t>
            </a:r>
          </a:p>
        </p:txBody>
      </p:sp>
      <p:sp>
        <p:nvSpPr>
          <p:cNvPr id="28" name="TextBox 27"/>
          <p:cNvSpPr txBox="1"/>
          <p:nvPr/>
        </p:nvSpPr>
        <p:spPr>
          <a:xfrm>
            <a:off x="2012512" y="3348432"/>
            <a:ext cx="1323639" cy="657479"/>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950" dirty="0" smtClean="0">
                <a:solidFill>
                  <a:srgbClr val="464646"/>
                </a:solidFill>
              </a:rPr>
              <a:t>Manual or no Test Results</a:t>
            </a:r>
          </a:p>
          <a:p>
            <a:pPr marL="72000" indent="-72000">
              <a:buClr>
                <a:schemeClr val="tx1"/>
              </a:buClr>
              <a:buSzPct val="80000"/>
              <a:buFont typeface="Wingdings" panose="05000000000000000000" pitchFamily="2" charset="2"/>
              <a:buChar char="§"/>
            </a:pPr>
            <a:r>
              <a:rPr lang="en-US" sz="950" dirty="0" smtClean="0">
                <a:solidFill>
                  <a:srgbClr val="464646"/>
                </a:solidFill>
              </a:rPr>
              <a:t>Logs </a:t>
            </a:r>
            <a:r>
              <a:rPr lang="en-US" sz="950" dirty="0">
                <a:solidFill>
                  <a:srgbClr val="464646"/>
                </a:solidFill>
              </a:rPr>
              <a:t>are not </a:t>
            </a:r>
            <a:r>
              <a:rPr lang="en-US" sz="950" dirty="0" smtClean="0">
                <a:solidFill>
                  <a:srgbClr val="464646"/>
                </a:solidFill>
              </a:rPr>
              <a:t>collected</a:t>
            </a:r>
            <a:endParaRPr lang="en-US" sz="950" dirty="0">
              <a:solidFill>
                <a:srgbClr val="464646"/>
              </a:solidFill>
            </a:endParaRPr>
          </a:p>
          <a:p>
            <a:pPr marL="72000" indent="-72000">
              <a:buClr>
                <a:schemeClr val="tx1"/>
              </a:buClr>
              <a:buSzPct val="80000"/>
              <a:buFont typeface="Wingdings" panose="05000000000000000000" pitchFamily="2" charset="2"/>
              <a:buChar char="§"/>
            </a:pPr>
            <a:r>
              <a:rPr lang="en-US" sz="950" dirty="0" smtClean="0">
                <a:solidFill>
                  <a:srgbClr val="464646"/>
                </a:solidFill>
              </a:rPr>
              <a:t>Manual test reports</a:t>
            </a:r>
          </a:p>
        </p:txBody>
      </p:sp>
      <p:sp>
        <p:nvSpPr>
          <p:cNvPr id="29" name="TextBox 28"/>
          <p:cNvSpPr txBox="1"/>
          <p:nvPr/>
        </p:nvSpPr>
        <p:spPr>
          <a:xfrm>
            <a:off x="3357394" y="3370638"/>
            <a:ext cx="1439469" cy="565146"/>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800" dirty="0" smtClean="0">
                <a:solidFill>
                  <a:srgbClr val="464646"/>
                </a:solidFill>
              </a:rPr>
              <a:t>Test Results </a:t>
            </a:r>
            <a:r>
              <a:rPr lang="en-US" sz="800" dirty="0">
                <a:solidFill>
                  <a:srgbClr val="464646"/>
                </a:solidFill>
              </a:rPr>
              <a:t>and Logs </a:t>
            </a:r>
            <a:r>
              <a:rPr lang="en-US" sz="800" dirty="0" smtClean="0">
                <a:solidFill>
                  <a:srgbClr val="464646"/>
                </a:solidFill>
              </a:rPr>
              <a:t>are collected </a:t>
            </a:r>
            <a:r>
              <a:rPr lang="en-US" sz="800" dirty="0">
                <a:solidFill>
                  <a:srgbClr val="464646"/>
                </a:solidFill>
              </a:rPr>
              <a:t>and saved locally or send via attachment in test </a:t>
            </a:r>
            <a:r>
              <a:rPr lang="en-US" sz="800" dirty="0" smtClean="0">
                <a:solidFill>
                  <a:srgbClr val="464646"/>
                </a:solidFill>
              </a:rPr>
              <a:t>report</a:t>
            </a:r>
            <a:endParaRPr lang="en-US" sz="800" dirty="0">
              <a:solidFill>
                <a:srgbClr val="464646"/>
              </a:solidFill>
            </a:endParaRPr>
          </a:p>
          <a:p>
            <a:pPr marL="72000" indent="-72000">
              <a:buClr>
                <a:schemeClr val="tx1"/>
              </a:buClr>
              <a:buSzPct val="80000"/>
              <a:buFont typeface="Wingdings" panose="05000000000000000000" pitchFamily="2" charset="2"/>
              <a:buChar char="§"/>
            </a:pPr>
            <a:r>
              <a:rPr lang="en-US" sz="800" dirty="0">
                <a:solidFill>
                  <a:srgbClr val="464646"/>
                </a:solidFill>
              </a:rPr>
              <a:t>Manual test report</a:t>
            </a:r>
            <a:endParaRPr lang="en-US" sz="800" dirty="0" smtClean="0">
              <a:solidFill>
                <a:srgbClr val="464646"/>
              </a:solidFill>
            </a:endParaRPr>
          </a:p>
        </p:txBody>
      </p:sp>
      <p:sp>
        <p:nvSpPr>
          <p:cNvPr id="30" name="TextBox 29"/>
          <p:cNvSpPr txBox="1"/>
          <p:nvPr/>
        </p:nvSpPr>
        <p:spPr>
          <a:xfrm>
            <a:off x="4803212" y="3370638"/>
            <a:ext cx="1690376" cy="688256"/>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800" dirty="0">
                <a:solidFill>
                  <a:srgbClr val="464646"/>
                </a:solidFill>
              </a:rPr>
              <a:t>Results and Logs collected and  automatically saved/uploaded in common test </a:t>
            </a:r>
            <a:r>
              <a:rPr lang="en-US" sz="800" dirty="0" smtClean="0">
                <a:solidFill>
                  <a:srgbClr val="464646"/>
                </a:solidFill>
              </a:rPr>
              <a:t>server</a:t>
            </a:r>
            <a:endParaRPr lang="en-US" sz="800" dirty="0">
              <a:solidFill>
                <a:srgbClr val="464646"/>
              </a:solidFill>
            </a:endParaRPr>
          </a:p>
          <a:p>
            <a:pPr marL="72000" indent="-72000">
              <a:buClr>
                <a:schemeClr val="tx1"/>
              </a:buClr>
              <a:buSzPct val="80000"/>
              <a:buFont typeface="Wingdings" panose="05000000000000000000" pitchFamily="2" charset="2"/>
              <a:buChar char="§"/>
            </a:pPr>
            <a:r>
              <a:rPr lang="en-US" sz="800" dirty="0">
                <a:solidFill>
                  <a:srgbClr val="464646"/>
                </a:solidFill>
              </a:rPr>
              <a:t>Reports are automatically prepared and sent</a:t>
            </a:r>
            <a:endParaRPr lang="en-US" sz="800" dirty="0" smtClean="0">
              <a:solidFill>
                <a:srgbClr val="464646"/>
              </a:solidFill>
            </a:endParaRPr>
          </a:p>
        </p:txBody>
      </p:sp>
      <p:sp>
        <p:nvSpPr>
          <p:cNvPr id="31" name="TextBox 30"/>
          <p:cNvSpPr txBox="1"/>
          <p:nvPr/>
        </p:nvSpPr>
        <p:spPr>
          <a:xfrm>
            <a:off x="6448662" y="3351251"/>
            <a:ext cx="1900709" cy="811367"/>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800" dirty="0">
                <a:solidFill>
                  <a:srgbClr val="464646"/>
                </a:solidFill>
              </a:rPr>
              <a:t>Existence of User Interface, where we can see test cases and whole test execution history, get any statistics (% passed, failed etc</a:t>
            </a:r>
            <a:r>
              <a:rPr lang="en-US" sz="800" dirty="0" smtClean="0">
                <a:solidFill>
                  <a:srgbClr val="464646"/>
                </a:solidFill>
              </a:rPr>
              <a:t>.)</a:t>
            </a:r>
            <a:endParaRPr lang="en-US" sz="800" dirty="0">
              <a:solidFill>
                <a:srgbClr val="464646"/>
              </a:solidFill>
            </a:endParaRPr>
          </a:p>
          <a:p>
            <a:pPr marL="72000" indent="-72000">
              <a:buClr>
                <a:schemeClr val="tx1"/>
              </a:buClr>
              <a:buSzPct val="80000"/>
              <a:buFont typeface="Wingdings" panose="05000000000000000000" pitchFamily="2" charset="2"/>
              <a:buChar char="§"/>
            </a:pPr>
            <a:r>
              <a:rPr lang="en-US" sz="800" dirty="0">
                <a:solidFill>
                  <a:srgbClr val="464646"/>
                </a:solidFill>
              </a:rPr>
              <a:t>Collect </a:t>
            </a:r>
            <a:r>
              <a:rPr lang="en-US" sz="800" dirty="0" smtClean="0">
                <a:solidFill>
                  <a:srgbClr val="464646"/>
                </a:solidFill>
              </a:rPr>
              <a:t>metrics</a:t>
            </a:r>
            <a:endParaRPr lang="en-US" sz="800" dirty="0">
              <a:solidFill>
                <a:srgbClr val="464646"/>
              </a:solidFill>
            </a:endParaRPr>
          </a:p>
          <a:p>
            <a:pPr marL="72000" indent="-72000">
              <a:buClr>
                <a:schemeClr val="tx1"/>
              </a:buClr>
              <a:buSzPct val="80000"/>
              <a:buFont typeface="Wingdings" panose="05000000000000000000" pitchFamily="2" charset="2"/>
              <a:buChar char="§"/>
            </a:pPr>
            <a:r>
              <a:rPr lang="en-US" sz="800" dirty="0">
                <a:solidFill>
                  <a:srgbClr val="464646"/>
                </a:solidFill>
              </a:rPr>
              <a:t>Possibility of search by entries/string in test logs</a:t>
            </a:r>
          </a:p>
        </p:txBody>
      </p:sp>
      <p:sp>
        <p:nvSpPr>
          <p:cNvPr id="32" name="TextBox 31"/>
          <p:cNvSpPr txBox="1"/>
          <p:nvPr/>
        </p:nvSpPr>
        <p:spPr>
          <a:xfrm>
            <a:off x="8372703" y="4150658"/>
            <a:ext cx="2569640" cy="442035"/>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800" dirty="0">
                <a:solidFill>
                  <a:srgbClr val="464646"/>
                </a:solidFill>
              </a:rPr>
              <a:t>Automatic defect prevention system (which is explore and directly reverts regressions</a:t>
            </a:r>
            <a:r>
              <a:rPr lang="en-US" sz="800" dirty="0" smtClean="0">
                <a:solidFill>
                  <a:srgbClr val="464646"/>
                </a:solidFill>
              </a:rPr>
              <a:t>)</a:t>
            </a:r>
            <a:endParaRPr lang="en-US" sz="800" dirty="0">
              <a:solidFill>
                <a:srgbClr val="464646"/>
              </a:solidFill>
            </a:endParaRPr>
          </a:p>
          <a:p>
            <a:pPr marL="72000" indent="-72000">
              <a:buClr>
                <a:schemeClr val="tx1"/>
              </a:buClr>
              <a:buSzPct val="80000"/>
              <a:buFont typeface="Wingdings" panose="05000000000000000000" pitchFamily="2" charset="2"/>
              <a:buChar char="§"/>
            </a:pPr>
            <a:r>
              <a:rPr lang="en-US" sz="800" dirty="0">
                <a:solidFill>
                  <a:srgbClr val="464646"/>
                </a:solidFill>
              </a:rPr>
              <a:t>Risk-based testing (RBT) system is used</a:t>
            </a:r>
          </a:p>
        </p:txBody>
      </p:sp>
      <p:sp>
        <p:nvSpPr>
          <p:cNvPr id="33" name="TextBox 32"/>
          <p:cNvSpPr txBox="1"/>
          <p:nvPr/>
        </p:nvSpPr>
        <p:spPr>
          <a:xfrm>
            <a:off x="2012512" y="4162618"/>
            <a:ext cx="1344881" cy="365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950" dirty="0">
                <a:ea typeface="Tele-GroteskHal" pitchFamily="2" charset="0"/>
                <a:cs typeface="Tele-GroteskHal" pitchFamily="2" charset="0"/>
              </a:rPr>
              <a:t>No bug and task tracking systems are used</a:t>
            </a:r>
          </a:p>
        </p:txBody>
      </p:sp>
      <p:sp>
        <p:nvSpPr>
          <p:cNvPr id="34" name="TextBox 33"/>
          <p:cNvSpPr txBox="1"/>
          <p:nvPr/>
        </p:nvSpPr>
        <p:spPr>
          <a:xfrm>
            <a:off x="3355622" y="4120189"/>
            <a:ext cx="1453332" cy="511285"/>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950" dirty="0">
                <a:solidFill>
                  <a:srgbClr val="464646"/>
                </a:solidFill>
              </a:rPr>
              <a:t>Defined defect tracking process with manual bugs and tasks creation</a:t>
            </a:r>
          </a:p>
        </p:txBody>
      </p:sp>
      <p:sp>
        <p:nvSpPr>
          <p:cNvPr id="35" name="TextBox 34"/>
          <p:cNvSpPr txBox="1"/>
          <p:nvPr/>
        </p:nvSpPr>
        <p:spPr>
          <a:xfrm>
            <a:off x="4804505" y="4134841"/>
            <a:ext cx="1658840" cy="442035"/>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800" dirty="0">
                <a:solidFill>
                  <a:srgbClr val="464646"/>
                </a:solidFill>
              </a:rPr>
              <a:t>Full integration with bug tracking and test management </a:t>
            </a:r>
            <a:r>
              <a:rPr lang="en-US" sz="800" dirty="0" smtClean="0">
                <a:solidFill>
                  <a:srgbClr val="464646"/>
                </a:solidFill>
              </a:rPr>
              <a:t>systems</a:t>
            </a:r>
            <a:endParaRPr lang="en-US" sz="800" dirty="0">
              <a:solidFill>
                <a:srgbClr val="464646"/>
              </a:solidFill>
            </a:endParaRPr>
          </a:p>
          <a:p>
            <a:pPr marL="72000" indent="-72000">
              <a:buClr>
                <a:schemeClr val="tx1"/>
              </a:buClr>
              <a:buSzPct val="80000"/>
              <a:buFont typeface="Wingdings" panose="05000000000000000000" pitchFamily="2" charset="2"/>
              <a:buChar char="§"/>
            </a:pPr>
            <a:r>
              <a:rPr lang="en-US" sz="800" dirty="0">
                <a:solidFill>
                  <a:srgbClr val="464646"/>
                </a:solidFill>
              </a:rPr>
              <a:t>Defined bug triage process.</a:t>
            </a:r>
          </a:p>
        </p:txBody>
      </p:sp>
      <p:sp>
        <p:nvSpPr>
          <p:cNvPr id="36" name="TextBox 35"/>
          <p:cNvSpPr txBox="1"/>
          <p:nvPr/>
        </p:nvSpPr>
        <p:spPr>
          <a:xfrm>
            <a:off x="6425078" y="4126238"/>
            <a:ext cx="1958409" cy="688256"/>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72000" indent="-72000">
              <a:buClr>
                <a:schemeClr val="tx1"/>
              </a:buClr>
              <a:buSzPct val="80000"/>
              <a:buFont typeface="Wingdings" panose="05000000000000000000" pitchFamily="2" charset="2"/>
              <a:buChar char="§"/>
            </a:pPr>
            <a:r>
              <a:rPr lang="en-US" sz="800" dirty="0">
                <a:solidFill>
                  <a:srgbClr val="464646"/>
                </a:solidFill>
              </a:rPr>
              <a:t>Defects are trapped and sent directly back through the fix, test creation, and regression test </a:t>
            </a:r>
            <a:r>
              <a:rPr lang="en-US" sz="800" dirty="0" smtClean="0">
                <a:solidFill>
                  <a:srgbClr val="464646"/>
                </a:solidFill>
              </a:rPr>
              <a:t>processes</a:t>
            </a:r>
            <a:endParaRPr lang="en-US" sz="800" dirty="0">
              <a:solidFill>
                <a:srgbClr val="464646"/>
              </a:solidFill>
            </a:endParaRPr>
          </a:p>
          <a:p>
            <a:pPr marL="72000" indent="-72000">
              <a:buClr>
                <a:schemeClr val="tx1"/>
              </a:buClr>
              <a:buSzPct val="80000"/>
              <a:buFont typeface="Wingdings" panose="05000000000000000000" pitchFamily="2" charset="2"/>
              <a:buChar char="§"/>
            </a:pPr>
            <a:r>
              <a:rPr lang="en-US" sz="800" dirty="0">
                <a:solidFill>
                  <a:srgbClr val="464646"/>
                </a:solidFill>
              </a:rPr>
              <a:t>QA Test team is an integral part of product development (QA and Dev work together)</a:t>
            </a:r>
          </a:p>
        </p:txBody>
      </p:sp>
      <p:sp>
        <p:nvSpPr>
          <p:cNvPr id="38" name="Rectangle 37"/>
          <p:cNvSpPr/>
          <p:nvPr/>
        </p:nvSpPr>
        <p:spPr bwMode="gray">
          <a:xfrm>
            <a:off x="1988215" y="4790946"/>
            <a:ext cx="8990755" cy="925451"/>
          </a:xfrm>
          <a:prstGeom prst="rect">
            <a:avLst/>
          </a:prstGeom>
          <a:solidFill>
            <a:schemeClr val="bg1">
              <a:alpha val="63000"/>
            </a:schemeClr>
          </a:solidFill>
          <a:ln w="19050" algn="ctr">
            <a:no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ru-RU" sz="1800" dirty="0" smtClean="0">
              <a:latin typeface="Tele-GroteskNor" pitchFamily="2" charset="0"/>
              <a:cs typeface="Arial Unicode MS" panose="020B0604020202020204" pitchFamily="34" charset="-128"/>
            </a:endParaRPr>
          </a:p>
        </p:txBody>
      </p:sp>
      <p:sp>
        <p:nvSpPr>
          <p:cNvPr id="39" name="TextBox 38"/>
          <p:cNvSpPr txBox="1"/>
          <p:nvPr/>
        </p:nvSpPr>
        <p:spPr>
          <a:xfrm>
            <a:off x="2012513" y="4786704"/>
            <a:ext cx="1352461" cy="802271"/>
          </a:xfrm>
          <a:prstGeom prst="rect">
            <a:avLst/>
          </a:prstGeom>
          <a:noFill/>
          <a:ln w="9525">
            <a:noFill/>
            <a:miter lim="800000"/>
            <a:headEnd/>
            <a:tailEnd/>
          </a:ln>
        </p:spPr>
        <p:txBody>
          <a:bodyPr vert="horz" wrap="square" lIns="62993" tIns="31496" rIns="62993" bIns="31496" numCol="1" rtlCol="0" anchor="t" anchorCtr="0" compatLnSpc="1">
            <a:prstTxWarp prst="textNoShape">
              <a:avLst/>
            </a:prstTxWarp>
            <a:spAutoFit/>
          </a:bodyPr>
          <a:lstStyle/>
          <a:p>
            <a:pPr marL="62993" indent="-62993">
              <a:buClr>
                <a:schemeClr val="tx1"/>
              </a:buClr>
              <a:buSzPct val="80000"/>
              <a:buFont typeface="Wingdings" panose="05000000000000000000" pitchFamily="2" charset="2"/>
              <a:buChar char="§"/>
            </a:pPr>
            <a:r>
              <a:rPr lang="en-US" sz="800" dirty="0">
                <a:solidFill>
                  <a:srgbClr val="464646"/>
                </a:solidFill>
              </a:rPr>
              <a:t>Manual delivery of software changes once in 4 months.</a:t>
            </a:r>
          </a:p>
          <a:p>
            <a:pPr marL="62993" indent="-62993">
              <a:buClr>
                <a:schemeClr val="tx1"/>
              </a:buClr>
              <a:buSzPct val="80000"/>
              <a:buFont typeface="Wingdings" panose="05000000000000000000" pitchFamily="2" charset="2"/>
              <a:buChar char="§"/>
            </a:pPr>
            <a:r>
              <a:rPr lang="en-US" sz="800" dirty="0" smtClean="0">
                <a:solidFill>
                  <a:srgbClr val="464646"/>
                </a:solidFill>
              </a:rPr>
              <a:t>Manual </a:t>
            </a:r>
            <a:r>
              <a:rPr lang="en-US" sz="800" dirty="0">
                <a:solidFill>
                  <a:srgbClr val="464646"/>
                </a:solidFill>
              </a:rPr>
              <a:t>installations of application</a:t>
            </a:r>
          </a:p>
          <a:p>
            <a:pPr marL="62993" indent="-62993">
              <a:buClr>
                <a:schemeClr val="tx1"/>
              </a:buClr>
              <a:buSzPct val="80000"/>
              <a:buFont typeface="Wingdings" panose="05000000000000000000" pitchFamily="2" charset="2"/>
              <a:buChar char="§"/>
            </a:pPr>
            <a:r>
              <a:rPr lang="en-US" sz="800" dirty="0" smtClean="0">
                <a:solidFill>
                  <a:srgbClr val="464646"/>
                </a:solidFill>
              </a:rPr>
              <a:t>One </a:t>
            </a:r>
            <a:r>
              <a:rPr lang="en-US" sz="800" dirty="0">
                <a:solidFill>
                  <a:srgbClr val="464646"/>
                </a:solidFill>
              </a:rPr>
              <a:t>monolithic application</a:t>
            </a:r>
          </a:p>
          <a:p>
            <a:pPr marL="62993" indent="-62993">
              <a:buClr>
                <a:schemeClr val="tx1"/>
              </a:buClr>
              <a:buSzPct val="80000"/>
              <a:buFont typeface="Wingdings" panose="05000000000000000000" pitchFamily="2" charset="2"/>
              <a:buChar char="§"/>
            </a:pPr>
            <a:r>
              <a:rPr lang="en-US" sz="800" dirty="0" smtClean="0">
                <a:solidFill>
                  <a:srgbClr val="464646"/>
                </a:solidFill>
              </a:rPr>
              <a:t>No </a:t>
            </a:r>
            <a:r>
              <a:rPr lang="en-US" sz="800" dirty="0">
                <a:solidFill>
                  <a:srgbClr val="464646"/>
                </a:solidFill>
              </a:rPr>
              <a:t>build </a:t>
            </a:r>
            <a:r>
              <a:rPr lang="en-US" sz="800" dirty="0" smtClean="0">
                <a:solidFill>
                  <a:srgbClr val="464646"/>
                </a:solidFill>
              </a:rPr>
              <a:t>versioning</a:t>
            </a:r>
            <a:endParaRPr lang="en-US" sz="800" dirty="0">
              <a:solidFill>
                <a:srgbClr val="464646"/>
              </a:solidFill>
            </a:endParaRPr>
          </a:p>
        </p:txBody>
      </p:sp>
      <p:sp>
        <p:nvSpPr>
          <p:cNvPr id="40" name="TextBox 39"/>
          <p:cNvSpPr txBox="1"/>
          <p:nvPr/>
        </p:nvSpPr>
        <p:spPr>
          <a:xfrm>
            <a:off x="3347293" y="4790945"/>
            <a:ext cx="1459406" cy="940770"/>
          </a:xfrm>
          <a:prstGeom prst="rect">
            <a:avLst/>
          </a:prstGeom>
          <a:noFill/>
          <a:ln w="9525">
            <a:noFill/>
            <a:miter lim="800000"/>
            <a:headEnd/>
            <a:tailEnd/>
          </a:ln>
        </p:spPr>
        <p:txBody>
          <a:bodyPr vert="horz" wrap="square" lIns="62993" tIns="31496" rIns="62993" bIns="31496" numCol="1" rtlCol="0" anchor="t" anchorCtr="0" compatLnSpc="1">
            <a:prstTxWarp prst="textNoShape">
              <a:avLst/>
            </a:prstTxWarp>
            <a:spAutoFit/>
          </a:bodyPr>
          <a:lstStyle/>
          <a:p>
            <a:pPr marL="62993" indent="-62993">
              <a:buClr>
                <a:schemeClr val="tx1"/>
              </a:buClr>
              <a:buSzPct val="80000"/>
              <a:buFont typeface="Wingdings" panose="05000000000000000000" pitchFamily="2" charset="2"/>
              <a:buChar char="§"/>
            </a:pPr>
            <a:r>
              <a:rPr lang="en-US" sz="950" dirty="0" smtClean="0">
                <a:solidFill>
                  <a:srgbClr val="464646"/>
                </a:solidFill>
              </a:rPr>
              <a:t>Semi </a:t>
            </a:r>
            <a:r>
              <a:rPr lang="en-US" sz="950" dirty="0">
                <a:solidFill>
                  <a:srgbClr val="464646"/>
                </a:solidFill>
              </a:rPr>
              <a:t>automated delivery of software changes once in 4 </a:t>
            </a:r>
            <a:r>
              <a:rPr lang="en-US" sz="950" dirty="0" smtClean="0">
                <a:solidFill>
                  <a:srgbClr val="464646"/>
                </a:solidFill>
              </a:rPr>
              <a:t>months</a:t>
            </a:r>
            <a:endParaRPr lang="en-US" sz="950" dirty="0">
              <a:solidFill>
                <a:srgbClr val="464646"/>
              </a:solidFill>
            </a:endParaRPr>
          </a:p>
          <a:p>
            <a:pPr marL="62993" indent="-62993">
              <a:buClr>
                <a:schemeClr val="tx1"/>
              </a:buClr>
              <a:buSzPct val="80000"/>
              <a:buFont typeface="Wingdings" panose="05000000000000000000" pitchFamily="2" charset="2"/>
              <a:buChar char="§"/>
            </a:pPr>
            <a:r>
              <a:rPr lang="en-US" sz="950" dirty="0">
                <a:solidFill>
                  <a:srgbClr val="464646"/>
                </a:solidFill>
              </a:rPr>
              <a:t>Semi automated installations. Versioning of the delivered builds</a:t>
            </a:r>
          </a:p>
        </p:txBody>
      </p:sp>
      <p:sp>
        <p:nvSpPr>
          <p:cNvPr id="41" name="TextBox 40"/>
          <p:cNvSpPr txBox="1"/>
          <p:nvPr/>
        </p:nvSpPr>
        <p:spPr>
          <a:xfrm>
            <a:off x="4803212" y="4797619"/>
            <a:ext cx="1621866" cy="802271"/>
          </a:xfrm>
          <a:prstGeom prst="rect">
            <a:avLst/>
          </a:prstGeom>
          <a:noFill/>
          <a:ln w="9525">
            <a:noFill/>
            <a:miter lim="800000"/>
            <a:headEnd/>
            <a:tailEnd/>
          </a:ln>
        </p:spPr>
        <p:txBody>
          <a:bodyPr vert="horz" wrap="square" lIns="62993" tIns="31496" rIns="62993" bIns="31496" numCol="1" rtlCol="0" anchor="t" anchorCtr="0" compatLnSpc="1">
            <a:prstTxWarp prst="textNoShape">
              <a:avLst/>
            </a:prstTxWarp>
            <a:spAutoFit/>
          </a:bodyPr>
          <a:lstStyle/>
          <a:p>
            <a:pPr marL="62993" indent="-62993">
              <a:buClr>
                <a:schemeClr val="tx1"/>
              </a:buClr>
              <a:buSzPct val="80000"/>
              <a:buFont typeface="Wingdings" panose="05000000000000000000" pitchFamily="2" charset="2"/>
              <a:buChar char="§"/>
            </a:pPr>
            <a:r>
              <a:rPr lang="en-US" sz="800" dirty="0">
                <a:solidFill>
                  <a:srgbClr val="464646"/>
                </a:solidFill>
              </a:rPr>
              <a:t>Semi automated deliveries of versioned software on demand</a:t>
            </a:r>
          </a:p>
          <a:p>
            <a:pPr marL="62993" indent="-62993">
              <a:buClr>
                <a:schemeClr val="tx1"/>
              </a:buClr>
              <a:buSzPct val="80000"/>
              <a:buFont typeface="Wingdings" panose="05000000000000000000" pitchFamily="2" charset="2"/>
              <a:buChar char="§"/>
            </a:pPr>
            <a:r>
              <a:rPr lang="en-US" sz="800" dirty="0" smtClean="0">
                <a:solidFill>
                  <a:srgbClr val="464646"/>
                </a:solidFill>
              </a:rPr>
              <a:t>Automated </a:t>
            </a:r>
            <a:r>
              <a:rPr lang="en-US" sz="800" dirty="0">
                <a:solidFill>
                  <a:srgbClr val="464646"/>
                </a:solidFill>
              </a:rPr>
              <a:t>installations with rolling updated</a:t>
            </a:r>
          </a:p>
          <a:p>
            <a:pPr marL="62993" indent="-62993">
              <a:buClr>
                <a:schemeClr val="tx1"/>
              </a:buClr>
              <a:buSzPct val="80000"/>
              <a:buFont typeface="Wingdings" panose="05000000000000000000" pitchFamily="2" charset="2"/>
              <a:buChar char="§"/>
            </a:pPr>
            <a:r>
              <a:rPr lang="en-US" sz="800" dirty="0" smtClean="0">
                <a:solidFill>
                  <a:srgbClr val="464646"/>
                </a:solidFill>
              </a:rPr>
              <a:t>Automated </a:t>
            </a:r>
            <a:r>
              <a:rPr lang="en-US" sz="800" dirty="0">
                <a:solidFill>
                  <a:srgbClr val="464646"/>
                </a:solidFill>
              </a:rPr>
              <a:t>version tagging of </a:t>
            </a:r>
            <a:r>
              <a:rPr lang="en-US" sz="800" dirty="0" smtClean="0">
                <a:solidFill>
                  <a:srgbClr val="464646"/>
                </a:solidFill>
              </a:rPr>
              <a:t> the </a:t>
            </a:r>
            <a:r>
              <a:rPr lang="en-US" sz="800" dirty="0">
                <a:solidFill>
                  <a:srgbClr val="464646"/>
                </a:solidFill>
              </a:rPr>
              <a:t>builds</a:t>
            </a:r>
          </a:p>
        </p:txBody>
      </p:sp>
      <p:sp>
        <p:nvSpPr>
          <p:cNvPr id="42" name="TextBox 41"/>
          <p:cNvSpPr txBox="1"/>
          <p:nvPr/>
        </p:nvSpPr>
        <p:spPr>
          <a:xfrm>
            <a:off x="6448662" y="4790947"/>
            <a:ext cx="1924040" cy="802271"/>
          </a:xfrm>
          <a:prstGeom prst="rect">
            <a:avLst/>
          </a:prstGeom>
          <a:noFill/>
          <a:ln w="9525">
            <a:noFill/>
            <a:miter lim="800000"/>
            <a:headEnd/>
            <a:tailEnd/>
          </a:ln>
        </p:spPr>
        <p:txBody>
          <a:bodyPr vert="horz" wrap="square" lIns="62993" tIns="31496" rIns="62993" bIns="31496" numCol="1" rtlCol="0" anchor="t" anchorCtr="0" compatLnSpc="1">
            <a:prstTxWarp prst="textNoShape">
              <a:avLst/>
            </a:prstTxWarp>
            <a:spAutoFit/>
          </a:bodyPr>
          <a:lstStyle/>
          <a:p>
            <a:pPr marL="62993" indent="-62993">
              <a:buClr>
                <a:schemeClr val="tx1"/>
              </a:buClr>
              <a:buSzPct val="80000"/>
              <a:buFont typeface="Wingdings" panose="05000000000000000000" pitchFamily="2" charset="2"/>
              <a:buChar char="§"/>
            </a:pPr>
            <a:r>
              <a:rPr lang="en-US" sz="800" dirty="0">
                <a:solidFill>
                  <a:srgbClr val="464646"/>
                </a:solidFill>
              </a:rPr>
              <a:t>Automated continuous delivery of software after implementation and test</a:t>
            </a:r>
          </a:p>
          <a:p>
            <a:pPr marL="62993" indent="-62993">
              <a:buClr>
                <a:schemeClr val="tx1"/>
              </a:buClr>
              <a:buSzPct val="80000"/>
              <a:buFont typeface="Wingdings" panose="05000000000000000000" pitchFamily="2" charset="2"/>
              <a:buChar char="§"/>
            </a:pPr>
            <a:r>
              <a:rPr lang="en-US" sz="800" dirty="0" smtClean="0">
                <a:solidFill>
                  <a:srgbClr val="464646"/>
                </a:solidFill>
              </a:rPr>
              <a:t>Automated </a:t>
            </a:r>
            <a:r>
              <a:rPr lang="en-US" sz="800" dirty="0">
                <a:solidFill>
                  <a:srgbClr val="464646"/>
                </a:solidFill>
              </a:rPr>
              <a:t>installations without downtime</a:t>
            </a:r>
          </a:p>
          <a:p>
            <a:pPr marL="62993" indent="-62993">
              <a:buClr>
                <a:schemeClr val="tx1"/>
              </a:buClr>
              <a:buSzPct val="80000"/>
              <a:buFont typeface="Wingdings" panose="05000000000000000000" pitchFamily="2" charset="2"/>
              <a:buChar char="§"/>
            </a:pPr>
            <a:r>
              <a:rPr lang="en-US" sz="800" dirty="0" smtClean="0">
                <a:solidFill>
                  <a:srgbClr val="464646"/>
                </a:solidFill>
              </a:rPr>
              <a:t>Feature </a:t>
            </a:r>
            <a:r>
              <a:rPr lang="en-US" sz="800" dirty="0">
                <a:solidFill>
                  <a:srgbClr val="464646"/>
                </a:solidFill>
              </a:rPr>
              <a:t>branch development with auto merging</a:t>
            </a:r>
          </a:p>
          <a:p>
            <a:pPr marL="62993" indent="-62993">
              <a:buClr>
                <a:schemeClr val="tx1"/>
              </a:buClr>
              <a:buSzPct val="80000"/>
              <a:buFont typeface="Wingdings" panose="05000000000000000000" pitchFamily="2" charset="2"/>
              <a:buChar char="§"/>
            </a:pPr>
            <a:r>
              <a:rPr lang="en-US" sz="800" dirty="0" smtClean="0">
                <a:solidFill>
                  <a:srgbClr val="464646"/>
                </a:solidFill>
              </a:rPr>
              <a:t>Splitting </a:t>
            </a:r>
            <a:r>
              <a:rPr lang="en-US" sz="800" dirty="0">
                <a:solidFill>
                  <a:srgbClr val="464646"/>
                </a:solidFill>
              </a:rPr>
              <a:t>the deliveries into stateless services (components).</a:t>
            </a:r>
          </a:p>
        </p:txBody>
      </p:sp>
      <p:sp>
        <p:nvSpPr>
          <p:cNvPr id="43" name="TextBox 42"/>
          <p:cNvSpPr txBox="1"/>
          <p:nvPr/>
        </p:nvSpPr>
        <p:spPr>
          <a:xfrm>
            <a:off x="8364611" y="4775131"/>
            <a:ext cx="2577731" cy="1048492"/>
          </a:xfrm>
          <a:prstGeom prst="rect">
            <a:avLst/>
          </a:prstGeom>
          <a:noFill/>
          <a:ln w="9525">
            <a:noFill/>
            <a:miter lim="800000"/>
            <a:headEnd/>
            <a:tailEnd/>
          </a:ln>
        </p:spPr>
        <p:txBody>
          <a:bodyPr vert="horz" wrap="square" lIns="62993" tIns="31496" rIns="62993" bIns="31496" numCol="1" rtlCol="0" anchor="t" anchorCtr="0" compatLnSpc="1">
            <a:prstTxWarp prst="textNoShape">
              <a:avLst/>
            </a:prstTxWarp>
            <a:spAutoFit/>
          </a:bodyPr>
          <a:lstStyle/>
          <a:p>
            <a:pPr marL="62993" indent="-62993">
              <a:buClr>
                <a:schemeClr val="tx1"/>
              </a:buClr>
              <a:buSzPct val="80000"/>
              <a:buFont typeface="Wingdings" panose="05000000000000000000" pitchFamily="2" charset="2"/>
              <a:buChar char="§"/>
            </a:pPr>
            <a:r>
              <a:rPr lang="en-US" sz="800" dirty="0">
                <a:solidFill>
                  <a:srgbClr val="464646"/>
                </a:solidFill>
              </a:rPr>
              <a:t>Automated continuous delivery of software after implementation and automated test</a:t>
            </a:r>
          </a:p>
          <a:p>
            <a:pPr marL="62993" indent="-62993">
              <a:buClr>
                <a:schemeClr val="tx1"/>
              </a:buClr>
              <a:buSzPct val="80000"/>
              <a:buFont typeface="Wingdings" panose="05000000000000000000" pitchFamily="2" charset="2"/>
              <a:buChar char="§"/>
            </a:pPr>
            <a:r>
              <a:rPr lang="en-US" sz="800" dirty="0" smtClean="0">
                <a:solidFill>
                  <a:srgbClr val="464646"/>
                </a:solidFill>
              </a:rPr>
              <a:t>Automated </a:t>
            </a:r>
            <a:r>
              <a:rPr lang="en-US" sz="800" dirty="0">
                <a:solidFill>
                  <a:srgbClr val="464646"/>
                </a:solidFill>
              </a:rPr>
              <a:t>rolling installation without downtime of new versions of components.</a:t>
            </a:r>
          </a:p>
          <a:p>
            <a:pPr marL="62993" indent="-62993">
              <a:buClr>
                <a:schemeClr val="tx1"/>
              </a:buClr>
              <a:buSzPct val="80000"/>
              <a:buFont typeface="Wingdings" panose="05000000000000000000" pitchFamily="2" charset="2"/>
              <a:buChar char="§"/>
            </a:pPr>
            <a:r>
              <a:rPr lang="en-US" sz="800" dirty="0" smtClean="0">
                <a:solidFill>
                  <a:srgbClr val="464646"/>
                </a:solidFill>
              </a:rPr>
              <a:t>Backwards </a:t>
            </a:r>
            <a:r>
              <a:rPr lang="en-US" sz="800" dirty="0">
                <a:solidFill>
                  <a:srgbClr val="464646"/>
                </a:solidFill>
              </a:rPr>
              <a:t>compatibility of the versions between components</a:t>
            </a:r>
          </a:p>
          <a:p>
            <a:pPr marL="62993" indent="-62993">
              <a:buClr>
                <a:schemeClr val="tx1"/>
              </a:buClr>
              <a:buSzPct val="80000"/>
              <a:buFont typeface="Wingdings" panose="05000000000000000000" pitchFamily="2" charset="2"/>
              <a:buChar char="§"/>
            </a:pPr>
            <a:r>
              <a:rPr lang="en-US" sz="800" dirty="0" smtClean="0">
                <a:solidFill>
                  <a:srgbClr val="464646"/>
                </a:solidFill>
              </a:rPr>
              <a:t>Automated </a:t>
            </a:r>
            <a:r>
              <a:rPr lang="en-US" sz="800" dirty="0">
                <a:solidFill>
                  <a:srgbClr val="464646"/>
                </a:solidFill>
              </a:rPr>
              <a:t>scaling of services</a:t>
            </a:r>
          </a:p>
          <a:p>
            <a:pPr marL="62993" indent="-62993">
              <a:buClr>
                <a:schemeClr val="tx1"/>
              </a:buClr>
              <a:buSzPct val="80000"/>
              <a:buFont typeface="Wingdings" panose="05000000000000000000" pitchFamily="2" charset="2"/>
              <a:buChar char="§"/>
            </a:pPr>
            <a:r>
              <a:rPr lang="en-US" sz="800" dirty="0">
                <a:solidFill>
                  <a:srgbClr val="464646"/>
                </a:solidFill>
              </a:rPr>
              <a:t>Master branch development with feature </a:t>
            </a:r>
            <a:r>
              <a:rPr lang="en-US" sz="800" dirty="0" smtClean="0">
                <a:solidFill>
                  <a:srgbClr val="464646"/>
                </a:solidFill>
              </a:rPr>
              <a:t>toggling</a:t>
            </a:r>
            <a:endParaRPr lang="en-US" sz="800" dirty="0">
              <a:solidFill>
                <a:srgbClr val="464646"/>
              </a:solidFill>
            </a:endParaRPr>
          </a:p>
          <a:p>
            <a:pPr marL="62993" indent="-62993">
              <a:buClr>
                <a:schemeClr val="tx1"/>
              </a:buClr>
              <a:buSzPct val="80000"/>
              <a:buFont typeface="Wingdings" panose="05000000000000000000" pitchFamily="2" charset="2"/>
              <a:buChar char="§"/>
            </a:pPr>
            <a:endParaRPr lang="en-US" sz="800" dirty="0">
              <a:solidFill>
                <a:srgbClr val="464646"/>
              </a:solidFill>
            </a:endParaRPr>
          </a:p>
        </p:txBody>
      </p:sp>
      <p:sp>
        <p:nvSpPr>
          <p:cNvPr id="44" name="AutoShape 120"/>
          <p:cNvSpPr>
            <a:spLocks noChangeArrowheads="1"/>
          </p:cNvSpPr>
          <p:nvPr/>
        </p:nvSpPr>
        <p:spPr bwMode="auto">
          <a:xfrm>
            <a:off x="826595" y="1669778"/>
            <a:ext cx="951724" cy="489591"/>
          </a:xfrm>
          <a:prstGeom prst="rect">
            <a:avLst/>
          </a:prstGeom>
          <a:noFill/>
          <a:ln w="12700" algn="ctr">
            <a:noFill/>
            <a:miter lim="800000"/>
            <a:headEnd/>
            <a:tailEnd/>
          </a:ln>
        </p:spPr>
        <p:txBody>
          <a:bodyPr lIns="94489" tIns="94489" rIns="0" bIns="0" anchor="t" anchorCtr="0"/>
          <a:lstStyle/>
          <a:p>
            <a:pPr defTabSz="800009">
              <a:lnSpc>
                <a:spcPct val="90000"/>
              </a:lnSpc>
            </a:pPr>
            <a:r>
              <a:rPr lang="en-US" sz="1200" dirty="0">
                <a:solidFill>
                  <a:srgbClr val="6B6B6B"/>
                </a:solidFill>
                <a:latin typeface="Tele-GroteskFet" pitchFamily="2" charset="0"/>
                <a:ea typeface="Tele-GroteskFet" pitchFamily="2" charset="0"/>
                <a:cs typeface="Tele-GroteskFet" pitchFamily="2" charset="0"/>
              </a:rPr>
              <a:t>Test</a:t>
            </a:r>
          </a:p>
          <a:p>
            <a:pPr defTabSz="800009">
              <a:lnSpc>
                <a:spcPct val="90000"/>
              </a:lnSpc>
            </a:pPr>
            <a:r>
              <a:rPr lang="en-US" sz="1200" dirty="0">
                <a:solidFill>
                  <a:srgbClr val="6B6B6B"/>
                </a:solidFill>
                <a:latin typeface="Tele-GroteskFet" pitchFamily="2" charset="0"/>
                <a:ea typeface="Tele-GroteskFet" pitchFamily="2" charset="0"/>
                <a:cs typeface="Tele-GroteskFet" pitchFamily="2" charset="0"/>
              </a:rPr>
              <a:t>Development</a:t>
            </a:r>
          </a:p>
        </p:txBody>
      </p:sp>
      <p:sp>
        <p:nvSpPr>
          <p:cNvPr id="45" name="AutoShape 120"/>
          <p:cNvSpPr>
            <a:spLocks noChangeArrowheads="1"/>
          </p:cNvSpPr>
          <p:nvPr/>
        </p:nvSpPr>
        <p:spPr bwMode="auto">
          <a:xfrm>
            <a:off x="807885" y="4992286"/>
            <a:ext cx="976782" cy="489591"/>
          </a:xfrm>
          <a:prstGeom prst="rect">
            <a:avLst/>
          </a:prstGeom>
          <a:noFill/>
          <a:ln w="12700" algn="ctr">
            <a:noFill/>
            <a:miter lim="800000"/>
            <a:headEnd/>
            <a:tailEnd/>
          </a:ln>
        </p:spPr>
        <p:txBody>
          <a:bodyPr lIns="94489" tIns="94489" rIns="0" bIns="0" anchor="t" anchorCtr="0"/>
          <a:lstStyle/>
          <a:p>
            <a:pPr defTabSz="800009">
              <a:lnSpc>
                <a:spcPct val="90000"/>
              </a:lnSpc>
            </a:pPr>
            <a:r>
              <a:rPr lang="en-US" sz="1200" dirty="0" smtClean="0">
                <a:solidFill>
                  <a:srgbClr val="6B6B6B"/>
                </a:solidFill>
                <a:latin typeface="Tele-GroteskFet" pitchFamily="2" charset="0"/>
                <a:ea typeface="Tele-GroteskFet" pitchFamily="2" charset="0"/>
                <a:cs typeface="Tele-GroteskFet" pitchFamily="2" charset="0"/>
              </a:rPr>
              <a:t>DevOps Integration</a:t>
            </a:r>
            <a:endParaRPr lang="en-US" sz="1200" dirty="0">
              <a:solidFill>
                <a:srgbClr val="6B6B6B"/>
              </a:solidFill>
              <a:latin typeface="Tele-GroteskFet" pitchFamily="2" charset="0"/>
              <a:ea typeface="Tele-GroteskFet" pitchFamily="2" charset="0"/>
              <a:cs typeface="Tele-GroteskFet" pitchFamily="2" charset="0"/>
            </a:endParaRPr>
          </a:p>
        </p:txBody>
      </p:sp>
    </p:spTree>
    <p:extLst>
      <p:ext uri="{BB962C8B-B14F-4D97-AF65-F5344CB8AC3E}">
        <p14:creationId xmlns:p14="http://schemas.microsoft.com/office/powerpoint/2010/main" val="271130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gray">
          <a:xfrm>
            <a:off x="372069" y="780973"/>
            <a:ext cx="1734906" cy="4579303"/>
          </a:xfrm>
          <a:prstGeom prst="rect">
            <a:avLst/>
          </a:prstGeom>
          <a:solidFill>
            <a:schemeClr val="accent4">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No test automation</a:t>
            </a:r>
            <a:endParaRPr lang="ru-RU"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100</a:t>
            </a:r>
            <a:r>
              <a:rPr lang="en-US" sz="1500" b="1" dirty="0">
                <a:latin typeface="Segoe Condensed" panose="020B0606040200020203" pitchFamily="34" charset="0"/>
                <a:cs typeface="Arial Unicode MS" panose="020B0604020202020204" pitchFamily="34" charset="-128"/>
              </a:rPr>
              <a:t>% manual </a:t>
            </a:r>
            <a:r>
              <a:rPr lang="en-US" sz="1500" b="1" dirty="0">
                <a:latin typeface="Segoe Condensed" panose="020B0606040200020203" pitchFamily="34" charset="0"/>
                <a:cs typeface="Arial Unicode MS" panose="020B0604020202020204" pitchFamily="34" charset="-128"/>
              </a:rPr>
              <a:t>test cases</a:t>
            </a: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15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 </a:t>
            </a:r>
            <a:endParaRPr lang="ru-RU" sz="1500" b="1" dirty="0">
              <a:latin typeface="Segoe Condensed" panose="020B0606040200020203" pitchFamily="34" charset="0"/>
              <a:cs typeface="Arial Unicode MS" panose="020B0604020202020204" pitchFamily="34" charset="-128"/>
            </a:endParaRPr>
          </a:p>
        </p:txBody>
      </p:sp>
      <p:sp>
        <p:nvSpPr>
          <p:cNvPr id="6" name="Rectangle 5"/>
          <p:cNvSpPr/>
          <p:nvPr/>
        </p:nvSpPr>
        <p:spPr bwMode="gray">
          <a:xfrm>
            <a:off x="372069" y="5445165"/>
            <a:ext cx="1734906" cy="313254"/>
          </a:xfrm>
          <a:prstGeom prst="rect">
            <a:avLst/>
          </a:prstGeom>
          <a:solidFill>
            <a:schemeClr val="accent4">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1543" b="1" dirty="0">
                <a:latin typeface="Segoe UI Emoji" panose="020B0502040204020203" pitchFamily="34" charset="0"/>
                <a:ea typeface="Segoe UI Emoji" panose="020B0502040204020203" pitchFamily="34" charset="0"/>
                <a:cs typeface="Arial Unicode MS" panose="020B0604020202020204" pitchFamily="34" charset="-128"/>
              </a:rPr>
              <a:t>Manual</a:t>
            </a:r>
            <a:endParaRPr lang="ru-RU" sz="1543" b="1" dirty="0">
              <a:latin typeface="Tele-GroteskNor" pitchFamily="2" charset="0"/>
              <a:ea typeface="Segoe UI Emoji" panose="020B0502040204020203" pitchFamily="34" charset="0"/>
              <a:cs typeface="Arial Unicode MS" panose="020B0604020202020204" pitchFamily="34" charset="-128"/>
            </a:endParaRPr>
          </a:p>
        </p:txBody>
      </p:sp>
      <p:sp>
        <p:nvSpPr>
          <p:cNvPr id="7" name="Rectangle 6"/>
          <p:cNvSpPr/>
          <p:nvPr/>
        </p:nvSpPr>
        <p:spPr bwMode="gray">
          <a:xfrm>
            <a:off x="2185350" y="5444507"/>
            <a:ext cx="1674752" cy="313912"/>
          </a:xfrm>
          <a:prstGeom prst="rect">
            <a:avLst/>
          </a:prstGeom>
          <a:solidFill>
            <a:schemeClr val="accent4">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1543" b="1" dirty="0">
                <a:latin typeface="Segoe UI Emoji" panose="020B0502040204020203" pitchFamily="34" charset="0"/>
                <a:ea typeface="Segoe UI Emoji" panose="020B0502040204020203" pitchFamily="34" charset="0"/>
                <a:cs typeface="Arial Unicode MS" panose="020B0604020202020204" pitchFamily="34" charset="-128"/>
              </a:rPr>
              <a:t>Beginning</a:t>
            </a:r>
            <a:endParaRPr lang="ru-RU" sz="1543" b="1" dirty="0">
              <a:latin typeface="Tele-GroteskNor" pitchFamily="2" charset="0"/>
              <a:ea typeface="Segoe UI Emoji" panose="020B0502040204020203" pitchFamily="34" charset="0"/>
              <a:cs typeface="Arial Unicode MS" panose="020B0604020202020204" pitchFamily="34" charset="-128"/>
            </a:endParaRPr>
          </a:p>
        </p:txBody>
      </p:sp>
      <p:sp>
        <p:nvSpPr>
          <p:cNvPr id="8" name="Rectangle 7"/>
          <p:cNvSpPr/>
          <p:nvPr/>
        </p:nvSpPr>
        <p:spPr bwMode="gray">
          <a:xfrm>
            <a:off x="3946579" y="5445165"/>
            <a:ext cx="2163071" cy="313912"/>
          </a:xfrm>
          <a:prstGeom prst="rect">
            <a:avLst/>
          </a:prstGeom>
          <a:solidFill>
            <a:schemeClr val="accent4">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1543" b="1" dirty="0">
                <a:latin typeface="Segoe UI Emoji" panose="020B0502040204020203" pitchFamily="34" charset="0"/>
                <a:ea typeface="Segoe UI Emoji" panose="020B0502040204020203" pitchFamily="34" charset="0"/>
                <a:cs typeface="Arial Unicode MS" panose="020B0604020202020204" pitchFamily="34" charset="-128"/>
              </a:rPr>
              <a:t>Defined</a:t>
            </a:r>
            <a:endParaRPr lang="ru-RU" sz="1543" b="1" dirty="0">
              <a:latin typeface="Tele-GroteskNor" pitchFamily="2" charset="0"/>
              <a:ea typeface="Segoe UI Emoji" panose="020B0502040204020203" pitchFamily="34" charset="0"/>
              <a:cs typeface="Arial Unicode MS" panose="020B0604020202020204" pitchFamily="34" charset="-128"/>
            </a:endParaRPr>
          </a:p>
        </p:txBody>
      </p:sp>
      <p:sp>
        <p:nvSpPr>
          <p:cNvPr id="9" name="Rectangle 8"/>
          <p:cNvSpPr/>
          <p:nvPr/>
        </p:nvSpPr>
        <p:spPr bwMode="gray">
          <a:xfrm>
            <a:off x="6188025" y="5445165"/>
            <a:ext cx="2085496" cy="313912"/>
          </a:xfrm>
          <a:prstGeom prst="rect">
            <a:avLst/>
          </a:prstGeom>
          <a:solidFill>
            <a:schemeClr val="accent4">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1543" b="1" dirty="0">
                <a:latin typeface="Segoe UI Emoji" panose="020B0502040204020203" pitchFamily="34" charset="0"/>
                <a:ea typeface="Segoe UI Emoji" panose="020B0502040204020203" pitchFamily="34" charset="0"/>
                <a:cs typeface="Arial Unicode MS" panose="020B0604020202020204" pitchFamily="34" charset="-128"/>
              </a:rPr>
              <a:t>Advanced</a:t>
            </a:r>
          </a:p>
        </p:txBody>
      </p:sp>
      <p:sp>
        <p:nvSpPr>
          <p:cNvPr id="10" name="Rectangle 9"/>
          <p:cNvSpPr/>
          <p:nvPr/>
        </p:nvSpPr>
        <p:spPr bwMode="gray">
          <a:xfrm>
            <a:off x="8351894" y="5445165"/>
            <a:ext cx="2844106" cy="313912"/>
          </a:xfrm>
          <a:prstGeom prst="rect">
            <a:avLst/>
          </a:prstGeom>
          <a:solidFill>
            <a:schemeClr val="accent4">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1543" b="1" dirty="0">
                <a:latin typeface="Segoe UI Emoji" panose="020B0502040204020203" pitchFamily="34" charset="0"/>
                <a:ea typeface="Segoe UI Emoji" panose="020B0502040204020203" pitchFamily="34" charset="0"/>
                <a:cs typeface="Arial Unicode MS" panose="020B0604020202020204" pitchFamily="34" charset="-128"/>
              </a:rPr>
              <a:t>Automated / Matured</a:t>
            </a:r>
          </a:p>
        </p:txBody>
      </p:sp>
      <p:sp>
        <p:nvSpPr>
          <p:cNvPr id="11" name="Rectangle 10"/>
          <p:cNvSpPr/>
          <p:nvPr/>
        </p:nvSpPr>
        <p:spPr bwMode="gray">
          <a:xfrm>
            <a:off x="2185350" y="780973"/>
            <a:ext cx="1682854" cy="4579303"/>
          </a:xfrm>
          <a:prstGeom prst="rect">
            <a:avLst/>
          </a:prstGeom>
          <a:solidFill>
            <a:schemeClr val="accent4">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Basic level of </a:t>
            </a:r>
            <a:r>
              <a:rPr lang="en-US" sz="1500" b="1" dirty="0">
                <a:latin typeface="Segoe Condensed" panose="020B0606040200020203" pitchFamily="34" charset="0"/>
                <a:cs typeface="Arial Unicode MS" panose="020B0604020202020204" pitchFamily="34" charset="-128"/>
              </a:rPr>
              <a:t>automation</a:t>
            </a: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Test cases automated  </a:t>
            </a:r>
            <a:r>
              <a:rPr lang="en-US" sz="1500" b="1" dirty="0">
                <a:latin typeface="Segoe Condensed" panose="020B0606040200020203" pitchFamily="34" charset="0"/>
                <a:cs typeface="Arial Unicode MS" panose="020B0604020202020204" pitchFamily="34" charset="-128"/>
              </a:rPr>
              <a:t>through scripting </a:t>
            </a:r>
            <a:r>
              <a:rPr lang="en-US" sz="1500" b="1" dirty="0">
                <a:latin typeface="Segoe Condensed" panose="020B0606040200020203" pitchFamily="34" charset="0"/>
                <a:cs typeface="Arial Unicode MS" panose="020B0604020202020204" pitchFamily="34" charset="-128"/>
              </a:rPr>
              <a:t>methodologies</a:t>
            </a: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Test </a:t>
            </a:r>
            <a:r>
              <a:rPr lang="en-US" sz="1500" b="1" dirty="0">
                <a:latin typeface="Segoe Condensed" panose="020B0606040200020203" pitchFamily="34" charset="0"/>
                <a:cs typeface="Arial Unicode MS" panose="020B0604020202020204" pitchFamily="34" charset="-128"/>
              </a:rPr>
              <a:t>automation suite exists, but </a:t>
            </a:r>
            <a:r>
              <a:rPr lang="en-US" sz="1500" b="1" dirty="0">
                <a:latin typeface="Segoe Condensed" panose="020B0606040200020203" pitchFamily="34" charset="0"/>
                <a:cs typeface="Arial Unicode MS" panose="020B0604020202020204" pitchFamily="34" charset="-128"/>
              </a:rPr>
              <a:t>automatic test</a:t>
            </a:r>
            <a:r>
              <a:rPr lang="ru-RU" sz="1500" b="1" dirty="0">
                <a:latin typeface="Segoe Condensed" panose="020B0606040200020203" pitchFamily="34" charset="0"/>
                <a:cs typeface="Arial Unicode MS" panose="020B0604020202020204" pitchFamily="34" charset="-128"/>
              </a:rPr>
              <a:t> </a:t>
            </a:r>
            <a:r>
              <a:rPr lang="en-US" sz="1500" b="1" dirty="0">
                <a:latin typeface="Segoe Condensed" panose="020B0606040200020203" pitchFamily="34" charset="0"/>
                <a:cs typeface="Arial Unicode MS" panose="020B0604020202020204" pitchFamily="34" charset="-128"/>
              </a:rPr>
              <a:t>cases </a:t>
            </a:r>
            <a:r>
              <a:rPr lang="en-US" sz="1500" b="1" dirty="0">
                <a:latin typeface="Segoe Condensed" panose="020B0606040200020203" pitchFamily="34" charset="0"/>
                <a:cs typeface="Arial Unicode MS" panose="020B0604020202020204" pitchFamily="34" charset="-128"/>
              </a:rPr>
              <a:t>are not excluded from manual test </a:t>
            </a:r>
            <a:r>
              <a:rPr lang="en-US" sz="1500" b="1" dirty="0">
                <a:latin typeface="Segoe Condensed" panose="020B0606040200020203" pitchFamily="34" charset="0"/>
                <a:cs typeface="Arial Unicode MS" panose="020B0604020202020204" pitchFamily="34" charset="-128"/>
              </a:rPr>
              <a:t>plan</a:t>
            </a:r>
          </a:p>
          <a:p>
            <a:pPr defTabSz="391900" fontAlgn="base">
              <a:lnSpc>
                <a:spcPct val="90000"/>
              </a:lnSpc>
              <a:buClr>
                <a:srgbClr val="E20074"/>
              </a:buClr>
              <a:buSzPct val="75000"/>
            </a:pPr>
            <a:endParaRPr lang="en-US" sz="15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p:txBody>
      </p:sp>
      <p:sp>
        <p:nvSpPr>
          <p:cNvPr id="12" name="Rectangle 11"/>
          <p:cNvSpPr/>
          <p:nvPr/>
        </p:nvSpPr>
        <p:spPr bwMode="gray">
          <a:xfrm>
            <a:off x="3946579" y="780972"/>
            <a:ext cx="2163071" cy="4579304"/>
          </a:xfrm>
          <a:prstGeom prst="rect">
            <a:avLst/>
          </a:prstGeom>
          <a:solidFill>
            <a:schemeClr val="accent4">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Test cases developed in Test Framework, re-use common classes or </a:t>
            </a:r>
            <a:r>
              <a:rPr lang="en-US" sz="1500" b="1" dirty="0">
                <a:latin typeface="Segoe Condensed" panose="020B0606040200020203" pitchFamily="34" charset="0"/>
                <a:cs typeface="Arial Unicode MS" panose="020B0604020202020204" pitchFamily="34" charset="-128"/>
              </a:rPr>
              <a:t>libraries</a:t>
            </a: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Test </a:t>
            </a:r>
            <a:r>
              <a:rPr lang="en-US" sz="1500" b="1" dirty="0">
                <a:latin typeface="Segoe Condensed" panose="020B0606040200020203" pitchFamily="34" charset="0"/>
                <a:cs typeface="Arial Unicode MS" panose="020B0604020202020204" pitchFamily="34" charset="-128"/>
              </a:rPr>
              <a:t>Framework gather test results and logs, generates test </a:t>
            </a:r>
            <a:r>
              <a:rPr lang="en-US" sz="1500" b="1" dirty="0">
                <a:latin typeface="Segoe Condensed" panose="020B0606040200020203" pitchFamily="34" charset="0"/>
                <a:cs typeface="Arial Unicode MS" panose="020B0604020202020204" pitchFamily="34" charset="-128"/>
              </a:rPr>
              <a:t>reports</a:t>
            </a: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Sources </a:t>
            </a:r>
            <a:r>
              <a:rPr lang="en-US" sz="1500" b="1" dirty="0">
                <a:latin typeface="Segoe Condensed" panose="020B0606040200020203" pitchFamily="34" charset="0"/>
                <a:cs typeface="Arial Unicode MS" panose="020B0604020202020204" pitchFamily="34" charset="-128"/>
              </a:rPr>
              <a:t>of </a:t>
            </a:r>
            <a:r>
              <a:rPr lang="en-US" sz="1500" b="1" dirty="0">
                <a:latin typeface="Segoe Condensed" panose="020B0606040200020203" pitchFamily="34" charset="0"/>
                <a:cs typeface="Arial Unicode MS" panose="020B0604020202020204" pitchFamily="34" charset="-128"/>
              </a:rPr>
              <a:t>Test Framework </a:t>
            </a:r>
            <a:r>
              <a:rPr lang="en-US" sz="1500" b="1" dirty="0">
                <a:latin typeface="Segoe Condensed" panose="020B0606040200020203" pitchFamily="34" charset="0"/>
                <a:cs typeface="Arial Unicode MS" panose="020B0604020202020204" pitchFamily="34" charset="-128"/>
              </a:rPr>
              <a:t>and </a:t>
            </a:r>
            <a:r>
              <a:rPr lang="en-US" sz="1500" b="1" dirty="0">
                <a:latin typeface="Segoe Condensed" panose="020B0606040200020203" pitchFamily="34" charset="0"/>
                <a:cs typeface="Arial Unicode MS" panose="020B0604020202020204" pitchFamily="34" charset="-128"/>
              </a:rPr>
              <a:t>test </a:t>
            </a:r>
            <a:r>
              <a:rPr lang="en-US" sz="1500" b="1" dirty="0">
                <a:latin typeface="Segoe Condensed" panose="020B0606040200020203" pitchFamily="34" charset="0"/>
                <a:cs typeface="Arial Unicode MS" panose="020B0604020202020204" pitchFamily="34" charset="-128"/>
              </a:rPr>
              <a:t>cases are under version control </a:t>
            </a:r>
            <a:r>
              <a:rPr lang="en-US" sz="1500" b="1" dirty="0">
                <a:latin typeface="Segoe Condensed" panose="020B0606040200020203" pitchFamily="34" charset="0"/>
                <a:cs typeface="Arial Unicode MS" panose="020B0604020202020204" pitchFamily="34" charset="-128"/>
              </a:rPr>
              <a:t>system</a:t>
            </a: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Automatic test cases </a:t>
            </a:r>
            <a:r>
              <a:rPr lang="en-US" sz="1500" b="1" dirty="0">
                <a:latin typeface="Segoe Condensed" panose="020B0606040200020203" pitchFamily="34" charset="0"/>
                <a:cs typeface="Arial Unicode MS" panose="020B0604020202020204" pitchFamily="34" charset="-128"/>
              </a:rPr>
              <a:t>are permanently used and produce profit (value), </a:t>
            </a:r>
            <a:r>
              <a:rPr lang="en-US" sz="1500" b="1" dirty="0">
                <a:latin typeface="Segoe Condensed" panose="020B0606040200020203" pitchFamily="34" charset="0"/>
                <a:cs typeface="Arial Unicode MS" panose="020B0604020202020204" pitchFamily="34" charset="-128"/>
              </a:rPr>
              <a:t>have no </a:t>
            </a:r>
            <a:r>
              <a:rPr lang="en-US" sz="1500" b="1" dirty="0">
                <a:latin typeface="Segoe Condensed" panose="020B0606040200020203" pitchFamily="34" charset="0"/>
                <a:cs typeface="Arial Unicode MS" panose="020B0604020202020204" pitchFamily="34" charset="-128"/>
              </a:rPr>
              <a:t>crossing with </a:t>
            </a:r>
            <a:r>
              <a:rPr lang="en-US" sz="1500" b="1" dirty="0">
                <a:latin typeface="Segoe Condensed" panose="020B0606040200020203" pitchFamily="34" charset="0"/>
                <a:cs typeface="Arial Unicode MS" panose="020B0604020202020204" pitchFamily="34" charset="-128"/>
              </a:rPr>
              <a:t>manual test cases</a:t>
            </a: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Test data management (automatic data generation</a:t>
            </a:r>
            <a:r>
              <a:rPr lang="en-US" sz="1500" b="1" dirty="0" smtClean="0">
                <a:latin typeface="Segoe Condensed" panose="020B0606040200020203" pitchFamily="34" charset="0"/>
                <a:cs typeface="Arial Unicode MS" panose="020B0604020202020204" pitchFamily="34" charset="-128"/>
              </a:rPr>
              <a:t>)</a:t>
            </a:r>
          </a:p>
        </p:txBody>
      </p:sp>
      <p:sp>
        <p:nvSpPr>
          <p:cNvPr id="13" name="Rectangle 12"/>
          <p:cNvSpPr/>
          <p:nvPr/>
        </p:nvSpPr>
        <p:spPr bwMode="gray">
          <a:xfrm>
            <a:off x="6188025" y="780973"/>
            <a:ext cx="2085495" cy="4579301"/>
          </a:xfrm>
          <a:prstGeom prst="rect">
            <a:avLst/>
          </a:prstGeom>
          <a:solidFill>
            <a:schemeClr val="accent4">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Test cases are classified by levels (unit, integration, system) and types (smoke, sanity, regression, acceptance)</a:t>
            </a: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Test </a:t>
            </a:r>
            <a:r>
              <a:rPr lang="en-US" sz="1500" b="1" dirty="0">
                <a:latin typeface="Segoe Condensed" panose="020B0606040200020203" pitchFamily="34" charset="0"/>
                <a:cs typeface="Arial Unicode MS" panose="020B0604020202020204" pitchFamily="34" charset="-128"/>
              </a:rPr>
              <a:t>cases are organized in well defined test plans, </a:t>
            </a:r>
            <a:r>
              <a:rPr lang="en-US" sz="1500" b="1" dirty="0">
                <a:latin typeface="Segoe Condensed" panose="020B0606040200020203" pitchFamily="34" charset="0"/>
                <a:cs typeface="Arial Unicode MS" panose="020B0604020202020204" pitchFamily="34" charset="-128"/>
              </a:rPr>
              <a:t>suites or scenarios</a:t>
            </a: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Test </a:t>
            </a:r>
            <a:r>
              <a:rPr lang="en-US" sz="1500" b="1" dirty="0">
                <a:latin typeface="Segoe Condensed" panose="020B0606040200020203" pitchFamily="34" charset="0"/>
                <a:cs typeface="Arial Unicode MS" panose="020B0604020202020204" pitchFamily="34" charset="-128"/>
              </a:rPr>
              <a:t>cases and </a:t>
            </a:r>
            <a:r>
              <a:rPr lang="en-US" sz="1500" b="1" dirty="0">
                <a:latin typeface="Segoe Condensed" panose="020B0606040200020203" pitchFamily="34" charset="0"/>
                <a:cs typeface="Arial Unicode MS" panose="020B0604020202020204" pitchFamily="34" charset="-128"/>
              </a:rPr>
              <a:t>Test plans </a:t>
            </a:r>
            <a:r>
              <a:rPr lang="en-US" sz="1500" b="1" dirty="0">
                <a:latin typeface="Segoe Condensed" panose="020B0606040200020203" pitchFamily="34" charset="0"/>
                <a:cs typeface="Arial Unicode MS" panose="020B0604020202020204" pitchFamily="34" charset="-128"/>
              </a:rPr>
              <a:t>are mapped with </a:t>
            </a:r>
            <a:r>
              <a:rPr lang="en-US" sz="1500" b="1" dirty="0">
                <a:latin typeface="Segoe Condensed" panose="020B0606040200020203" pitchFamily="34" charset="0"/>
                <a:cs typeface="Arial Unicode MS" panose="020B0604020202020204" pitchFamily="34" charset="-128"/>
              </a:rPr>
              <a:t>actual requirements. Test coverage is measurable by test cases</a:t>
            </a: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The general</a:t>
            </a:r>
            <a:r>
              <a:rPr lang="ru-RU" sz="1500" b="1" dirty="0">
                <a:latin typeface="Segoe Condensed" panose="020B0606040200020203" pitchFamily="34" charset="0"/>
                <a:cs typeface="Arial Unicode MS" panose="020B0604020202020204" pitchFamily="34" charset="-128"/>
              </a:rPr>
              <a:t> </a:t>
            </a:r>
            <a:r>
              <a:rPr lang="en-US" sz="1500" b="1" dirty="0">
                <a:latin typeface="Segoe Condensed" panose="020B0606040200020203" pitchFamily="34" charset="0"/>
                <a:cs typeface="Arial Unicode MS" panose="020B0604020202020204" pitchFamily="34" charset="-128"/>
              </a:rPr>
              <a:t>level of test coverage by automatic test cases is more/higher than </a:t>
            </a:r>
            <a:r>
              <a:rPr lang="en-US" sz="1500" b="1" dirty="0">
                <a:latin typeface="Segoe Condensed" panose="020B0606040200020203" pitchFamily="34" charset="0"/>
                <a:cs typeface="Arial Unicode MS" panose="020B0604020202020204" pitchFamily="34" charset="-128"/>
              </a:rPr>
              <a:t>coverage </a:t>
            </a:r>
            <a:r>
              <a:rPr lang="en-US" sz="1500" b="1" dirty="0">
                <a:latin typeface="Segoe Condensed" panose="020B0606040200020203" pitchFamily="34" charset="0"/>
                <a:cs typeface="Arial Unicode MS" panose="020B0604020202020204" pitchFamily="34" charset="-128"/>
              </a:rPr>
              <a:t>by manual test </a:t>
            </a:r>
            <a:r>
              <a:rPr lang="en-US" sz="1500" b="1" dirty="0" smtClean="0">
                <a:latin typeface="Segoe Condensed" panose="020B0606040200020203" pitchFamily="34" charset="0"/>
                <a:cs typeface="Arial Unicode MS" panose="020B0604020202020204" pitchFamily="34" charset="-128"/>
              </a:rPr>
              <a:t>cases</a:t>
            </a:r>
            <a:endParaRPr lang="en-US" sz="1500" b="1" dirty="0">
              <a:latin typeface="Segoe Condensed" panose="020B0606040200020203" pitchFamily="34" charset="0"/>
              <a:cs typeface="Arial Unicode MS" panose="020B0604020202020204" pitchFamily="34" charset="-128"/>
            </a:endParaRPr>
          </a:p>
        </p:txBody>
      </p:sp>
      <p:sp>
        <p:nvSpPr>
          <p:cNvPr id="14" name="Rectangle 13"/>
          <p:cNvSpPr/>
          <p:nvPr/>
        </p:nvSpPr>
        <p:spPr bwMode="gray">
          <a:xfrm>
            <a:off x="8351894" y="780973"/>
            <a:ext cx="2844105" cy="4579303"/>
          </a:xfrm>
          <a:prstGeom prst="rect">
            <a:avLst/>
          </a:prstGeom>
          <a:solidFill>
            <a:schemeClr val="accent4">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Script less </a:t>
            </a:r>
            <a:r>
              <a:rPr lang="en-US" sz="1500" b="1" dirty="0">
                <a:latin typeface="Segoe Condensed" panose="020B0606040200020203" pitchFamily="34" charset="0"/>
                <a:cs typeface="Arial Unicode MS" panose="020B0604020202020204" pitchFamily="34" charset="-128"/>
              </a:rPr>
              <a:t>Test Framework </a:t>
            </a:r>
            <a:r>
              <a:rPr lang="en-US" sz="1500" b="1" dirty="0">
                <a:latin typeface="Segoe Condensed" panose="020B0606040200020203" pitchFamily="34" charset="0"/>
                <a:cs typeface="Arial Unicode MS" panose="020B0604020202020204" pitchFamily="34" charset="-128"/>
              </a:rPr>
              <a:t>with extremely intuitive GIU can scale across complete QA </a:t>
            </a:r>
            <a:r>
              <a:rPr lang="en-US" sz="1500" b="1" dirty="0">
                <a:latin typeface="Segoe Condensed" panose="020B0606040200020203" pitchFamily="34" charset="0"/>
                <a:cs typeface="Arial Unicode MS" panose="020B0604020202020204" pitchFamily="34" charset="-128"/>
              </a:rPr>
              <a:t>and Dev teams, </a:t>
            </a:r>
            <a:r>
              <a:rPr lang="en-US" sz="1500" b="1" dirty="0">
                <a:latin typeface="Segoe Condensed" panose="020B0606040200020203" pitchFamily="34" charset="0"/>
                <a:cs typeface="Arial Unicode MS" panose="020B0604020202020204" pitchFamily="34" charset="-128"/>
              </a:rPr>
              <a:t>test automation tools, development technologies and any complex </a:t>
            </a:r>
            <a:r>
              <a:rPr lang="en-US" sz="1500" b="1" dirty="0">
                <a:latin typeface="Segoe Condensed" panose="020B0606040200020203" pitchFamily="34" charset="0"/>
                <a:cs typeface="Arial Unicode MS" panose="020B0604020202020204" pitchFamily="34" charset="-128"/>
              </a:rPr>
              <a:t>scenarios</a:t>
            </a: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Test Framework implementation re-use some test </a:t>
            </a:r>
            <a:r>
              <a:rPr lang="en-US" sz="1500" b="1" dirty="0">
                <a:latin typeface="Segoe Condensed" panose="020B0606040200020203" pitchFamily="34" charset="0"/>
                <a:cs typeface="Arial Unicode MS" panose="020B0604020202020204" pitchFamily="34" charset="-128"/>
              </a:rPr>
              <a:t>concept (ex, </a:t>
            </a:r>
            <a:r>
              <a:rPr lang="en-US" sz="1500" b="1" dirty="0">
                <a:latin typeface="Segoe Condensed" panose="020B0606040200020203" pitchFamily="34" charset="0"/>
                <a:cs typeface="Arial Unicode MS" panose="020B0604020202020204" pitchFamily="34" charset="-128"/>
              </a:rPr>
              <a:t>keyword-driven, data-driven etc.). </a:t>
            </a:r>
            <a:r>
              <a:rPr lang="en-US" sz="1500" b="1" dirty="0">
                <a:latin typeface="Segoe Condensed" panose="020B0606040200020203" pitchFamily="34" charset="0"/>
                <a:cs typeface="Arial Unicode MS" panose="020B0604020202020204" pitchFamily="34" charset="-128"/>
              </a:rPr>
              <a:t>Test cases can be developed by a manual QA </a:t>
            </a:r>
            <a:r>
              <a:rPr lang="en-US" sz="1500" b="1" dirty="0">
                <a:latin typeface="Segoe Condensed" panose="020B0606040200020203" pitchFamily="34" charset="0"/>
                <a:cs typeface="Arial Unicode MS" panose="020B0604020202020204" pitchFamily="34" charset="-128"/>
              </a:rPr>
              <a:t>Engineer and fits in test automation pyramid (UI-Middle-Unit level)</a:t>
            </a: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1500" b="1" dirty="0">
                <a:latin typeface="Segoe Condensed" panose="020B0606040200020203" pitchFamily="34" charset="0"/>
                <a:cs typeface="Arial Unicode MS" panose="020B0604020202020204" pitchFamily="34" charset="-128"/>
              </a:rPr>
              <a:t>100</a:t>
            </a:r>
            <a:r>
              <a:rPr lang="en-US" sz="1500" b="1" dirty="0">
                <a:latin typeface="Segoe Condensed" panose="020B0606040200020203" pitchFamily="34" charset="0"/>
                <a:cs typeface="Arial Unicode MS" panose="020B0604020202020204" pitchFamily="34" charset="-128"/>
              </a:rPr>
              <a:t>% of </a:t>
            </a:r>
            <a:r>
              <a:rPr lang="en-US" sz="1500" b="1" dirty="0">
                <a:latin typeface="Segoe Condensed" panose="020B0606040200020203" pitchFamily="34" charset="0"/>
                <a:cs typeface="Arial Unicode MS" panose="020B0604020202020204" pitchFamily="34" charset="-128"/>
              </a:rPr>
              <a:t>Test cases </a:t>
            </a:r>
            <a:r>
              <a:rPr lang="en-US" sz="1500" b="1" dirty="0">
                <a:latin typeface="Segoe Condensed" panose="020B0606040200020203" pitchFamily="34" charset="0"/>
                <a:cs typeface="Arial Unicode MS" panose="020B0604020202020204" pitchFamily="34" charset="-128"/>
              </a:rPr>
              <a:t>are </a:t>
            </a:r>
            <a:r>
              <a:rPr lang="en-US" sz="1500" b="1" dirty="0">
                <a:latin typeface="Segoe Condensed" panose="020B0606040200020203" pitchFamily="34" charset="0"/>
                <a:cs typeface="Arial Unicode MS" panose="020B0604020202020204" pitchFamily="34" charset="-128"/>
              </a:rPr>
              <a:t>automatic</a:t>
            </a:r>
          </a:p>
          <a:p>
            <a:pPr defTabSz="391900" fontAlgn="base">
              <a:lnSpc>
                <a:spcPct val="90000"/>
              </a:lnSpc>
              <a:buClr>
                <a:srgbClr val="E20074"/>
              </a:buClr>
              <a:buSzPct val="75000"/>
            </a:pPr>
            <a:endParaRPr lang="en-US" sz="15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15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15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1500" b="1" dirty="0">
              <a:latin typeface="Segoe Condensed" panose="020B0606040200020203" pitchFamily="34" charset="0"/>
              <a:cs typeface="Arial Unicode MS" panose="020B0604020202020204" pitchFamily="34" charset="-128"/>
            </a:endParaRPr>
          </a:p>
        </p:txBody>
      </p:sp>
      <p:sp>
        <p:nvSpPr>
          <p:cNvPr id="20" name="Title 1"/>
          <p:cNvSpPr txBox="1">
            <a:spLocks/>
          </p:cNvSpPr>
          <p:nvPr/>
        </p:nvSpPr>
        <p:spPr bwMode="gray">
          <a:xfrm>
            <a:off x="324000" y="252000"/>
            <a:ext cx="10872000" cy="5040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defTabSz="457322" rtl="0" eaLnBrk="1" fontAlgn="base" hangingPunct="1">
              <a:lnSpc>
                <a:spcPct val="90000"/>
              </a:lnSpc>
              <a:spcBef>
                <a:spcPts val="0"/>
              </a:spcBef>
              <a:spcAft>
                <a:spcPct val="0"/>
              </a:spcAft>
              <a:defRPr lang="de-DE" sz="3200" kern="1200">
                <a:solidFill>
                  <a:schemeClr val="tx2"/>
                </a:solidFill>
                <a:latin typeface="TeleGrotesk Headline Ultra" pitchFamily="2" charset="0"/>
                <a:ea typeface="+mj-ea"/>
                <a:cs typeface="TeleGrotesk Headline Ultra" pitchFamily="2" charset="0"/>
              </a:defRPr>
            </a:lvl1pPr>
            <a:lvl2pPr algn="l" defTabSz="576226" rtl="0" eaLnBrk="1" fontAlgn="base" hangingPunct="1">
              <a:lnSpc>
                <a:spcPct val="90000"/>
              </a:lnSpc>
              <a:spcBef>
                <a:spcPct val="0"/>
              </a:spcBef>
              <a:spcAft>
                <a:spcPct val="0"/>
              </a:spcAft>
              <a:defRPr sz="3700">
                <a:solidFill>
                  <a:schemeClr val="tx2"/>
                </a:solidFill>
                <a:latin typeface="Tele-GroteskUlt" pitchFamily="2" charset="0"/>
              </a:defRPr>
            </a:lvl2pPr>
            <a:lvl3pPr algn="l" defTabSz="576226" rtl="0" eaLnBrk="1" fontAlgn="base" hangingPunct="1">
              <a:lnSpc>
                <a:spcPct val="90000"/>
              </a:lnSpc>
              <a:spcBef>
                <a:spcPct val="0"/>
              </a:spcBef>
              <a:spcAft>
                <a:spcPct val="0"/>
              </a:spcAft>
              <a:defRPr sz="3700">
                <a:solidFill>
                  <a:schemeClr val="tx2"/>
                </a:solidFill>
                <a:latin typeface="Tele-GroteskUlt" pitchFamily="2" charset="0"/>
              </a:defRPr>
            </a:lvl3pPr>
            <a:lvl4pPr algn="l" defTabSz="576226" rtl="0" eaLnBrk="1" fontAlgn="base" hangingPunct="1">
              <a:lnSpc>
                <a:spcPct val="90000"/>
              </a:lnSpc>
              <a:spcBef>
                <a:spcPct val="0"/>
              </a:spcBef>
              <a:spcAft>
                <a:spcPct val="0"/>
              </a:spcAft>
              <a:defRPr sz="3700">
                <a:solidFill>
                  <a:schemeClr val="tx2"/>
                </a:solidFill>
                <a:latin typeface="Tele-GroteskUlt" pitchFamily="2" charset="0"/>
              </a:defRPr>
            </a:lvl4pPr>
            <a:lvl5pPr algn="l" defTabSz="576226" rtl="0" eaLnBrk="1" fontAlgn="base" hangingPunct="1">
              <a:lnSpc>
                <a:spcPct val="90000"/>
              </a:lnSpc>
              <a:spcBef>
                <a:spcPct val="0"/>
              </a:spcBef>
              <a:spcAft>
                <a:spcPct val="0"/>
              </a:spcAft>
              <a:defRPr sz="3700">
                <a:solidFill>
                  <a:schemeClr val="tx2"/>
                </a:solidFill>
                <a:latin typeface="Tele-GroteskUlt" pitchFamily="2" charset="0"/>
              </a:defRPr>
            </a:lvl5pPr>
            <a:lvl6pPr marL="457171" algn="l" defTabSz="576226" rtl="0" eaLnBrk="1" fontAlgn="base" hangingPunct="1">
              <a:lnSpc>
                <a:spcPct val="90000"/>
              </a:lnSpc>
              <a:spcBef>
                <a:spcPct val="0"/>
              </a:spcBef>
              <a:spcAft>
                <a:spcPct val="0"/>
              </a:spcAft>
              <a:defRPr sz="3700">
                <a:solidFill>
                  <a:schemeClr val="tx2"/>
                </a:solidFill>
                <a:latin typeface="Tele-GroteskUlt" pitchFamily="2" charset="0"/>
              </a:defRPr>
            </a:lvl6pPr>
            <a:lvl7pPr marL="914342" algn="l" defTabSz="576226" rtl="0" eaLnBrk="1" fontAlgn="base" hangingPunct="1">
              <a:lnSpc>
                <a:spcPct val="90000"/>
              </a:lnSpc>
              <a:spcBef>
                <a:spcPct val="0"/>
              </a:spcBef>
              <a:spcAft>
                <a:spcPct val="0"/>
              </a:spcAft>
              <a:defRPr sz="3700">
                <a:solidFill>
                  <a:schemeClr val="tx2"/>
                </a:solidFill>
                <a:latin typeface="Tele-GroteskUlt" pitchFamily="2" charset="0"/>
              </a:defRPr>
            </a:lvl7pPr>
            <a:lvl8pPr marL="1371513" algn="l" defTabSz="576226" rtl="0" eaLnBrk="1" fontAlgn="base" hangingPunct="1">
              <a:lnSpc>
                <a:spcPct val="90000"/>
              </a:lnSpc>
              <a:spcBef>
                <a:spcPct val="0"/>
              </a:spcBef>
              <a:spcAft>
                <a:spcPct val="0"/>
              </a:spcAft>
              <a:defRPr sz="3700">
                <a:solidFill>
                  <a:schemeClr val="tx2"/>
                </a:solidFill>
                <a:latin typeface="Tele-GroteskUlt" pitchFamily="2" charset="0"/>
              </a:defRPr>
            </a:lvl8pPr>
            <a:lvl9pPr marL="1828683" algn="l" defTabSz="576226" rtl="0" eaLnBrk="1" fontAlgn="base" hangingPunct="1">
              <a:lnSpc>
                <a:spcPct val="90000"/>
              </a:lnSpc>
              <a:spcBef>
                <a:spcPct val="0"/>
              </a:spcBef>
              <a:spcAft>
                <a:spcPct val="0"/>
              </a:spcAft>
              <a:defRPr sz="3700">
                <a:solidFill>
                  <a:schemeClr val="tx2"/>
                </a:solidFill>
                <a:latin typeface="Tele-GroteskUlt" pitchFamily="2" charset="0"/>
              </a:defRPr>
            </a:lvl9pPr>
          </a:lstStyle>
          <a:p>
            <a:r>
              <a:rPr lang="en-US" dirty="0" smtClean="0"/>
              <a:t>TAMM: TEST DEVELOPMENT</a:t>
            </a:r>
            <a:endParaRPr lang="ru-RU" dirty="0"/>
          </a:p>
        </p:txBody>
      </p:sp>
    </p:spTree>
    <p:extLst>
      <p:ext uri="{BB962C8B-B14F-4D97-AF65-F5344CB8AC3E}">
        <p14:creationId xmlns:p14="http://schemas.microsoft.com/office/powerpoint/2010/main" val="345171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MM: TEST STRATEGY</a:t>
            </a:r>
            <a:endParaRPr lang="ru-RU" dirty="0"/>
          </a:p>
        </p:txBody>
      </p:sp>
      <p:sp>
        <p:nvSpPr>
          <p:cNvPr id="4" name="Slide Number Placeholder 3"/>
          <p:cNvSpPr>
            <a:spLocks noGrp="1"/>
          </p:cNvSpPr>
          <p:nvPr>
            <p:ph type="sldNum" sz="quarter" idx="11"/>
          </p:nvPr>
        </p:nvSpPr>
        <p:spPr/>
        <p:txBody>
          <a:bodyPr/>
          <a:lstStyle/>
          <a:p>
            <a:pPr fontAlgn="base">
              <a:spcAft>
                <a:spcPct val="0"/>
              </a:spcAft>
            </a:pPr>
            <a:fld id="{31ED8236-F742-4994-B025-3D78EEC04644}" type="slidenum">
              <a:rPr lang="en-US" noProof="0" smtClean="0"/>
              <a:pPr fontAlgn="base">
                <a:spcAft>
                  <a:spcPct val="0"/>
                </a:spcAft>
              </a:pPr>
              <a:t>4</a:t>
            </a:fld>
            <a:endParaRPr lang="en-US" noProof="0" dirty="0"/>
          </a:p>
        </p:txBody>
      </p:sp>
      <p:sp>
        <p:nvSpPr>
          <p:cNvPr id="5" name="Rectangle 4"/>
          <p:cNvSpPr/>
          <p:nvPr/>
        </p:nvSpPr>
        <p:spPr bwMode="gray">
          <a:xfrm>
            <a:off x="323997" y="830645"/>
            <a:ext cx="1734906" cy="4109215"/>
          </a:xfrm>
          <a:prstGeom prst="rect">
            <a:avLst/>
          </a:prstGeom>
          <a:solidFill>
            <a:schemeClr val="accent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Some odd documents, no formal documentation and </a:t>
            </a:r>
            <a:r>
              <a:rPr lang="en-US" sz="2000" b="1" dirty="0" smtClean="0">
                <a:latin typeface="Segoe Condensed" panose="020B0606040200020203" pitchFamily="34" charset="0"/>
                <a:cs typeface="Arial Unicode MS" panose="020B0604020202020204" pitchFamily="34" charset="-128"/>
              </a:rPr>
              <a:t>processes</a:t>
            </a:r>
            <a:endParaRPr lang="ru-RU" sz="20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smtClean="0">
              <a:latin typeface="Segoe Condensed" panose="020B0606040200020203" pitchFamily="34" charset="0"/>
              <a:cs typeface="Arial Unicode MS" panose="020B0604020202020204" pitchFamily="34" charset="-128"/>
            </a:endParaRPr>
          </a:p>
        </p:txBody>
      </p:sp>
      <p:sp>
        <p:nvSpPr>
          <p:cNvPr id="6" name="Rectangle 5"/>
          <p:cNvSpPr/>
          <p:nvPr/>
        </p:nvSpPr>
        <p:spPr bwMode="gray">
          <a:xfrm>
            <a:off x="323996" y="5023770"/>
            <a:ext cx="1734906" cy="554810"/>
          </a:xfrm>
          <a:prstGeom prst="rect">
            <a:avLst/>
          </a:prstGeom>
          <a:solidFill>
            <a:schemeClr val="accent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a:latin typeface="Segoe UI Emoji" panose="020B0502040204020203" pitchFamily="34" charset="0"/>
                <a:ea typeface="Segoe UI Emoji" panose="020B0502040204020203" pitchFamily="34" charset="0"/>
                <a:cs typeface="Arial Unicode MS" panose="020B0604020202020204" pitchFamily="34" charset="-128"/>
              </a:rPr>
              <a:t>Manual</a:t>
            </a:r>
            <a:endParaRPr lang="ru-RU" sz="2400" b="1" dirty="0">
              <a:latin typeface="Tele-GroteskNor" pitchFamily="2" charset="0"/>
              <a:ea typeface="Segoe UI Emoji" panose="020B0502040204020203" pitchFamily="34" charset="0"/>
              <a:cs typeface="Arial Unicode MS" panose="020B0604020202020204" pitchFamily="34" charset="-128"/>
            </a:endParaRPr>
          </a:p>
        </p:txBody>
      </p:sp>
      <p:sp>
        <p:nvSpPr>
          <p:cNvPr id="7" name="Rectangle 6"/>
          <p:cNvSpPr/>
          <p:nvPr/>
        </p:nvSpPr>
        <p:spPr bwMode="gray">
          <a:xfrm>
            <a:off x="2137277" y="5023111"/>
            <a:ext cx="1674752" cy="555975"/>
          </a:xfrm>
          <a:prstGeom prst="rect">
            <a:avLst/>
          </a:prstGeom>
          <a:solidFill>
            <a:schemeClr val="accent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a:latin typeface="Segoe UI Emoji" panose="020B0502040204020203" pitchFamily="34" charset="0"/>
                <a:ea typeface="Segoe UI Emoji" panose="020B0502040204020203" pitchFamily="34" charset="0"/>
                <a:cs typeface="Arial Unicode MS" panose="020B0604020202020204" pitchFamily="34" charset="-128"/>
              </a:rPr>
              <a:t>Beginning</a:t>
            </a:r>
            <a:endParaRPr lang="ru-RU" sz="2400" b="1" dirty="0">
              <a:latin typeface="Tele-GroteskNor" pitchFamily="2" charset="0"/>
              <a:ea typeface="Segoe UI Emoji" panose="020B0502040204020203" pitchFamily="34" charset="0"/>
              <a:cs typeface="Arial Unicode MS" panose="020B0604020202020204" pitchFamily="34" charset="-128"/>
            </a:endParaRPr>
          </a:p>
        </p:txBody>
      </p:sp>
      <p:sp>
        <p:nvSpPr>
          <p:cNvPr id="8" name="Rectangle 7"/>
          <p:cNvSpPr/>
          <p:nvPr/>
        </p:nvSpPr>
        <p:spPr bwMode="gray">
          <a:xfrm>
            <a:off x="3898506" y="5023769"/>
            <a:ext cx="2163071" cy="555975"/>
          </a:xfrm>
          <a:prstGeom prst="rect">
            <a:avLst/>
          </a:prstGeom>
          <a:solidFill>
            <a:schemeClr val="accent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a:latin typeface="Segoe UI Emoji" panose="020B0502040204020203" pitchFamily="34" charset="0"/>
                <a:ea typeface="Segoe UI Emoji" panose="020B0502040204020203" pitchFamily="34" charset="0"/>
                <a:cs typeface="Arial Unicode MS" panose="020B0604020202020204" pitchFamily="34" charset="-128"/>
              </a:rPr>
              <a:t>Defined</a:t>
            </a:r>
            <a:endParaRPr lang="ru-RU" sz="2400" b="1" dirty="0">
              <a:latin typeface="Tele-GroteskNor" pitchFamily="2" charset="0"/>
              <a:ea typeface="Segoe UI Emoji" panose="020B0502040204020203" pitchFamily="34" charset="0"/>
              <a:cs typeface="Arial Unicode MS" panose="020B0604020202020204" pitchFamily="34" charset="-128"/>
            </a:endParaRPr>
          </a:p>
        </p:txBody>
      </p:sp>
      <p:sp>
        <p:nvSpPr>
          <p:cNvPr id="9" name="Rectangle 8"/>
          <p:cNvSpPr/>
          <p:nvPr/>
        </p:nvSpPr>
        <p:spPr bwMode="gray">
          <a:xfrm>
            <a:off x="6139952" y="5023769"/>
            <a:ext cx="2085496" cy="555975"/>
          </a:xfrm>
          <a:prstGeom prst="rect">
            <a:avLst/>
          </a:prstGeom>
          <a:solidFill>
            <a:schemeClr val="accent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a:latin typeface="Segoe UI Emoji" panose="020B0502040204020203" pitchFamily="34" charset="0"/>
                <a:ea typeface="Segoe UI Emoji" panose="020B0502040204020203" pitchFamily="34" charset="0"/>
                <a:cs typeface="Arial Unicode MS" panose="020B0604020202020204" pitchFamily="34" charset="-128"/>
              </a:rPr>
              <a:t>Advanced</a:t>
            </a:r>
          </a:p>
        </p:txBody>
      </p:sp>
      <p:sp>
        <p:nvSpPr>
          <p:cNvPr id="10" name="Rectangle 9"/>
          <p:cNvSpPr/>
          <p:nvPr/>
        </p:nvSpPr>
        <p:spPr bwMode="gray">
          <a:xfrm>
            <a:off x="8303821" y="5023769"/>
            <a:ext cx="2844106" cy="555975"/>
          </a:xfrm>
          <a:prstGeom prst="rect">
            <a:avLst/>
          </a:prstGeom>
          <a:solidFill>
            <a:schemeClr val="accent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smtClean="0">
                <a:latin typeface="Segoe UI Emoji" panose="020B0502040204020203" pitchFamily="34" charset="0"/>
                <a:ea typeface="Segoe UI Emoji" panose="020B0502040204020203" pitchFamily="34" charset="0"/>
                <a:cs typeface="Arial Unicode MS" panose="020B0604020202020204" pitchFamily="34" charset="-128"/>
              </a:rPr>
              <a:t>Matured</a:t>
            </a:r>
            <a:endParaRPr lang="en-US" sz="2400" b="1" dirty="0">
              <a:latin typeface="Segoe UI Emoji" panose="020B0502040204020203" pitchFamily="34" charset="0"/>
              <a:ea typeface="Segoe UI Emoji" panose="020B0502040204020203" pitchFamily="34" charset="0"/>
              <a:cs typeface="Arial Unicode MS" panose="020B0604020202020204" pitchFamily="34" charset="-128"/>
            </a:endParaRPr>
          </a:p>
        </p:txBody>
      </p:sp>
      <p:sp>
        <p:nvSpPr>
          <p:cNvPr id="11" name="Rectangle 10"/>
          <p:cNvSpPr/>
          <p:nvPr/>
        </p:nvSpPr>
        <p:spPr bwMode="gray">
          <a:xfrm>
            <a:off x="2137278" y="830645"/>
            <a:ext cx="1682854" cy="4109215"/>
          </a:xfrm>
          <a:prstGeom prst="rect">
            <a:avLst/>
          </a:prstGeom>
          <a:solidFill>
            <a:schemeClr val="accent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Defined (&amp; maintained) Release planning and list of preparations </a:t>
            </a:r>
            <a:r>
              <a:rPr lang="en-US" sz="2000" b="1" dirty="0" smtClean="0">
                <a:latin typeface="Segoe Condensed" panose="020B0606040200020203" pitchFamily="34" charset="0"/>
                <a:cs typeface="Arial Unicode MS" panose="020B0604020202020204" pitchFamily="34" charset="-128"/>
              </a:rPr>
              <a:t>processes</a:t>
            </a:r>
            <a:endParaRPr lang="ru-RU" sz="20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p:txBody>
      </p:sp>
      <p:sp>
        <p:nvSpPr>
          <p:cNvPr id="12" name="Rectangle 11"/>
          <p:cNvSpPr/>
          <p:nvPr/>
        </p:nvSpPr>
        <p:spPr bwMode="gray">
          <a:xfrm>
            <a:off x="3898507" y="830644"/>
            <a:ext cx="2163071" cy="4109217"/>
          </a:xfrm>
          <a:prstGeom prst="rect">
            <a:avLst/>
          </a:prstGeom>
          <a:solidFill>
            <a:schemeClr val="accent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Defined Test Automation strategy, goals and scope/user stories</a:t>
            </a: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Permanent test automation process analysis and </a:t>
            </a:r>
            <a:r>
              <a:rPr lang="en-US" sz="2000" b="1" dirty="0" smtClean="0">
                <a:latin typeface="Segoe Condensed" panose="020B0606040200020203" pitchFamily="34" charset="0"/>
                <a:cs typeface="Arial Unicode MS" panose="020B0604020202020204" pitchFamily="34" charset="-128"/>
              </a:rPr>
              <a:t>improvement</a:t>
            </a:r>
            <a:endParaRPr lang="ru-RU" sz="20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p:txBody>
      </p:sp>
      <p:sp>
        <p:nvSpPr>
          <p:cNvPr id="13" name="Rectangle 12"/>
          <p:cNvSpPr/>
          <p:nvPr/>
        </p:nvSpPr>
        <p:spPr bwMode="gray">
          <a:xfrm>
            <a:off x="6139953" y="830645"/>
            <a:ext cx="2085495" cy="4109215"/>
          </a:xfrm>
          <a:prstGeom prst="rect">
            <a:avLst/>
          </a:prstGeom>
          <a:solidFill>
            <a:schemeClr val="accent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Detailed Test coverage and Requirements traceability matrix. </a:t>
            </a: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Established workflow of test coverage </a:t>
            </a:r>
            <a:r>
              <a:rPr lang="en-US" sz="2000" b="1" dirty="0" smtClean="0">
                <a:latin typeface="Segoe Condensed" panose="020B0606040200020203" pitchFamily="34" charset="0"/>
                <a:cs typeface="Arial Unicode MS" panose="020B0604020202020204" pitchFamily="34" charset="-128"/>
              </a:rPr>
              <a:t>assessment</a:t>
            </a:r>
            <a:endParaRPr lang="ru-RU" sz="20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p:txBody>
      </p:sp>
      <p:sp>
        <p:nvSpPr>
          <p:cNvPr id="14" name="Rectangle 13"/>
          <p:cNvSpPr/>
          <p:nvPr/>
        </p:nvSpPr>
        <p:spPr bwMode="gray">
          <a:xfrm>
            <a:off x="8303822" y="830645"/>
            <a:ext cx="2844105" cy="4109215"/>
          </a:xfrm>
          <a:prstGeom prst="rect">
            <a:avLst/>
          </a:prstGeom>
          <a:solidFill>
            <a:schemeClr val="accent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Test automation ROI analysis, processes analysis and KPIs:</a:t>
            </a:r>
          </a:p>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 automation execution time per code commit</a:t>
            </a:r>
          </a:p>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 quarantine tests that have random success</a:t>
            </a:r>
          </a:p>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 PASS-FAIL rates per code commit</a:t>
            </a:r>
          </a:p>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 CI duration time</a:t>
            </a:r>
          </a:p>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 capture test case duration (if it exceeds some max time)</a:t>
            </a:r>
          </a:p>
          <a:p>
            <a:pPr defTabSz="391900"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p:txBody>
      </p:sp>
    </p:spTree>
    <p:extLst>
      <p:ext uri="{BB962C8B-B14F-4D97-AF65-F5344CB8AC3E}">
        <p14:creationId xmlns:p14="http://schemas.microsoft.com/office/powerpoint/2010/main" val="358067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MM: TEST EXECUTION</a:t>
            </a:r>
            <a:endParaRPr lang="ru-RU" dirty="0"/>
          </a:p>
        </p:txBody>
      </p:sp>
      <p:sp>
        <p:nvSpPr>
          <p:cNvPr id="4" name="Slide Number Placeholder 3"/>
          <p:cNvSpPr>
            <a:spLocks noGrp="1"/>
          </p:cNvSpPr>
          <p:nvPr>
            <p:ph type="sldNum" sz="quarter" idx="11"/>
          </p:nvPr>
        </p:nvSpPr>
        <p:spPr/>
        <p:txBody>
          <a:bodyPr/>
          <a:lstStyle/>
          <a:p>
            <a:pPr fontAlgn="base">
              <a:spcAft>
                <a:spcPct val="0"/>
              </a:spcAft>
            </a:pPr>
            <a:fld id="{31ED8236-F742-4994-B025-3D78EEC04644}" type="slidenum">
              <a:rPr lang="en-US" noProof="0" smtClean="0"/>
              <a:pPr fontAlgn="base">
                <a:spcAft>
                  <a:spcPct val="0"/>
                </a:spcAft>
              </a:pPr>
              <a:t>5</a:t>
            </a:fld>
            <a:endParaRPr lang="en-US" noProof="0" dirty="0"/>
          </a:p>
        </p:txBody>
      </p:sp>
      <p:sp>
        <p:nvSpPr>
          <p:cNvPr id="5" name="Rectangle 4"/>
          <p:cNvSpPr/>
          <p:nvPr/>
        </p:nvSpPr>
        <p:spPr bwMode="gray">
          <a:xfrm>
            <a:off x="323997" y="830647"/>
            <a:ext cx="1734906" cy="4182787"/>
          </a:xfrm>
          <a:prstGeom prst="rect">
            <a:avLst/>
          </a:prstGeom>
          <a:solidFill>
            <a:schemeClr val="accent6">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Test results somewhere saved</a:t>
            </a: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Logs are not collected, </a:t>
            </a: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No test reports or manual prepared</a:t>
            </a:r>
          </a:p>
          <a:p>
            <a:pPr defTabSz="391900" fontAlgn="base">
              <a:lnSpc>
                <a:spcPct val="90000"/>
              </a:lnSpc>
              <a:buClr>
                <a:srgbClr val="E20074"/>
              </a:buClr>
              <a:buSzPct val="75000"/>
            </a:pPr>
            <a:endParaRPr lang="ru-RU" sz="20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smtClean="0">
              <a:latin typeface="Segoe Condensed" panose="020B0606040200020203" pitchFamily="34" charset="0"/>
              <a:cs typeface="Arial Unicode MS" panose="020B0604020202020204" pitchFamily="34" charset="-128"/>
            </a:endParaRPr>
          </a:p>
        </p:txBody>
      </p:sp>
      <p:sp>
        <p:nvSpPr>
          <p:cNvPr id="6" name="Rectangle 5"/>
          <p:cNvSpPr/>
          <p:nvPr/>
        </p:nvSpPr>
        <p:spPr bwMode="gray">
          <a:xfrm>
            <a:off x="323996" y="5088464"/>
            <a:ext cx="1734906" cy="496456"/>
          </a:xfrm>
          <a:prstGeom prst="rect">
            <a:avLst/>
          </a:prstGeom>
          <a:solidFill>
            <a:schemeClr val="accent6">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a:latin typeface="Segoe UI Emoji" panose="020B0502040204020203" pitchFamily="34" charset="0"/>
                <a:ea typeface="Segoe UI Emoji" panose="020B0502040204020203" pitchFamily="34" charset="0"/>
                <a:cs typeface="Arial Unicode MS" panose="020B0604020202020204" pitchFamily="34" charset="-128"/>
              </a:rPr>
              <a:t>Manual</a:t>
            </a:r>
            <a:endParaRPr lang="ru-RU" sz="2400" b="1" dirty="0">
              <a:latin typeface="Tele-GroteskNor" pitchFamily="2" charset="0"/>
              <a:ea typeface="Segoe UI Emoji" panose="020B0502040204020203" pitchFamily="34" charset="0"/>
              <a:cs typeface="Arial Unicode MS" panose="020B0604020202020204" pitchFamily="34" charset="-128"/>
            </a:endParaRPr>
          </a:p>
        </p:txBody>
      </p:sp>
      <p:sp>
        <p:nvSpPr>
          <p:cNvPr id="7" name="Rectangle 6"/>
          <p:cNvSpPr/>
          <p:nvPr/>
        </p:nvSpPr>
        <p:spPr bwMode="gray">
          <a:xfrm>
            <a:off x="2137277" y="5087421"/>
            <a:ext cx="1674752" cy="497499"/>
          </a:xfrm>
          <a:prstGeom prst="rect">
            <a:avLst/>
          </a:prstGeom>
          <a:solidFill>
            <a:schemeClr val="accent6">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a:latin typeface="Segoe UI Emoji" panose="020B0502040204020203" pitchFamily="34" charset="0"/>
                <a:ea typeface="Segoe UI Emoji" panose="020B0502040204020203" pitchFamily="34" charset="0"/>
                <a:cs typeface="Arial Unicode MS" panose="020B0604020202020204" pitchFamily="34" charset="-128"/>
              </a:rPr>
              <a:t>Beginning</a:t>
            </a:r>
            <a:endParaRPr lang="ru-RU" sz="2400" b="1" dirty="0">
              <a:latin typeface="Tele-GroteskNor" pitchFamily="2" charset="0"/>
              <a:ea typeface="Segoe UI Emoji" panose="020B0502040204020203" pitchFamily="34" charset="0"/>
              <a:cs typeface="Arial Unicode MS" panose="020B0604020202020204" pitchFamily="34" charset="-128"/>
            </a:endParaRPr>
          </a:p>
        </p:txBody>
      </p:sp>
      <p:sp>
        <p:nvSpPr>
          <p:cNvPr id="8" name="Rectangle 7"/>
          <p:cNvSpPr/>
          <p:nvPr/>
        </p:nvSpPr>
        <p:spPr bwMode="gray">
          <a:xfrm>
            <a:off x="3898506" y="5088079"/>
            <a:ext cx="2163071" cy="497499"/>
          </a:xfrm>
          <a:prstGeom prst="rect">
            <a:avLst/>
          </a:prstGeom>
          <a:solidFill>
            <a:schemeClr val="accent6">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a:latin typeface="Segoe UI Emoji" panose="020B0502040204020203" pitchFamily="34" charset="0"/>
                <a:ea typeface="Segoe UI Emoji" panose="020B0502040204020203" pitchFamily="34" charset="0"/>
                <a:cs typeface="Arial Unicode MS" panose="020B0604020202020204" pitchFamily="34" charset="-128"/>
              </a:rPr>
              <a:t>Defined</a:t>
            </a:r>
            <a:endParaRPr lang="ru-RU" sz="2400" b="1" dirty="0">
              <a:latin typeface="Tele-GroteskNor" pitchFamily="2" charset="0"/>
              <a:ea typeface="Segoe UI Emoji" panose="020B0502040204020203" pitchFamily="34" charset="0"/>
              <a:cs typeface="Arial Unicode MS" panose="020B0604020202020204" pitchFamily="34" charset="-128"/>
            </a:endParaRPr>
          </a:p>
        </p:txBody>
      </p:sp>
      <p:sp>
        <p:nvSpPr>
          <p:cNvPr id="9" name="Rectangle 8"/>
          <p:cNvSpPr/>
          <p:nvPr/>
        </p:nvSpPr>
        <p:spPr bwMode="gray">
          <a:xfrm>
            <a:off x="6139952" y="5088079"/>
            <a:ext cx="2085496" cy="497499"/>
          </a:xfrm>
          <a:prstGeom prst="rect">
            <a:avLst/>
          </a:prstGeom>
          <a:solidFill>
            <a:schemeClr val="accent6">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a:latin typeface="Segoe UI Emoji" panose="020B0502040204020203" pitchFamily="34" charset="0"/>
                <a:ea typeface="Segoe UI Emoji" panose="020B0502040204020203" pitchFamily="34" charset="0"/>
                <a:cs typeface="Arial Unicode MS" panose="020B0604020202020204" pitchFamily="34" charset="-128"/>
              </a:rPr>
              <a:t>Advanced</a:t>
            </a:r>
          </a:p>
        </p:txBody>
      </p:sp>
      <p:sp>
        <p:nvSpPr>
          <p:cNvPr id="10" name="Rectangle 9"/>
          <p:cNvSpPr/>
          <p:nvPr/>
        </p:nvSpPr>
        <p:spPr bwMode="gray">
          <a:xfrm>
            <a:off x="8303821" y="5088079"/>
            <a:ext cx="2844106" cy="497499"/>
          </a:xfrm>
          <a:prstGeom prst="rect">
            <a:avLst/>
          </a:prstGeom>
          <a:solidFill>
            <a:schemeClr val="accent6">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smtClean="0">
                <a:latin typeface="Segoe UI Emoji" panose="020B0502040204020203" pitchFamily="34" charset="0"/>
                <a:ea typeface="Segoe UI Emoji" panose="020B0502040204020203" pitchFamily="34" charset="0"/>
                <a:cs typeface="Arial Unicode MS" panose="020B0604020202020204" pitchFamily="34" charset="-128"/>
              </a:rPr>
              <a:t>Matured</a:t>
            </a:r>
            <a:endParaRPr lang="en-US" sz="2400" b="1" dirty="0">
              <a:latin typeface="Segoe UI Emoji" panose="020B0502040204020203" pitchFamily="34" charset="0"/>
              <a:ea typeface="Segoe UI Emoji" panose="020B0502040204020203" pitchFamily="34" charset="0"/>
              <a:cs typeface="Arial Unicode MS" panose="020B0604020202020204" pitchFamily="34" charset="-128"/>
            </a:endParaRPr>
          </a:p>
        </p:txBody>
      </p:sp>
      <p:sp>
        <p:nvSpPr>
          <p:cNvPr id="11" name="Rectangle 10"/>
          <p:cNvSpPr/>
          <p:nvPr/>
        </p:nvSpPr>
        <p:spPr bwMode="gray">
          <a:xfrm>
            <a:off x="2137278" y="830647"/>
            <a:ext cx="1682854" cy="4182787"/>
          </a:xfrm>
          <a:prstGeom prst="rect">
            <a:avLst/>
          </a:prstGeom>
          <a:solidFill>
            <a:schemeClr val="accent6">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Results and Logs collected and saved locally or send via attachment in test report</a:t>
            </a: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Manual test report</a:t>
            </a: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p:txBody>
      </p:sp>
      <p:sp>
        <p:nvSpPr>
          <p:cNvPr id="12" name="Rectangle 11"/>
          <p:cNvSpPr/>
          <p:nvPr/>
        </p:nvSpPr>
        <p:spPr bwMode="gray">
          <a:xfrm>
            <a:off x="3898507" y="830645"/>
            <a:ext cx="2163071" cy="4182789"/>
          </a:xfrm>
          <a:prstGeom prst="rect">
            <a:avLst/>
          </a:prstGeom>
          <a:solidFill>
            <a:schemeClr val="accent6">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Results and Logs collected and  automatically saved/uploaded in common test server</a:t>
            </a: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Reports are automatically prepared and sent</a:t>
            </a: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p:txBody>
      </p:sp>
      <p:sp>
        <p:nvSpPr>
          <p:cNvPr id="13" name="Rectangle 12"/>
          <p:cNvSpPr/>
          <p:nvPr/>
        </p:nvSpPr>
        <p:spPr bwMode="gray">
          <a:xfrm>
            <a:off x="6139953" y="830647"/>
            <a:ext cx="2085495" cy="4182787"/>
          </a:xfrm>
          <a:prstGeom prst="rect">
            <a:avLst/>
          </a:prstGeom>
          <a:solidFill>
            <a:schemeClr val="accent6">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Existence of User Interface, where we can see test cases and whole test execution history, get any statistics (% passed, failed etc.)</a:t>
            </a: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Collect metrics</a:t>
            </a: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Possibility of search by entries/string in test logs</a:t>
            </a: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p:txBody>
      </p:sp>
      <p:sp>
        <p:nvSpPr>
          <p:cNvPr id="14" name="Rectangle 13"/>
          <p:cNvSpPr/>
          <p:nvPr/>
        </p:nvSpPr>
        <p:spPr bwMode="gray">
          <a:xfrm>
            <a:off x="8303822" y="830647"/>
            <a:ext cx="2844105" cy="4182787"/>
          </a:xfrm>
          <a:prstGeom prst="rect">
            <a:avLst/>
          </a:prstGeom>
          <a:solidFill>
            <a:schemeClr val="accent6">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391900"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Automatic analysis of Test Results and Logs, categorization of errors and prediction from regressions/issues</a:t>
            </a: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p:txBody>
      </p:sp>
    </p:spTree>
    <p:extLst>
      <p:ext uri="{BB962C8B-B14F-4D97-AF65-F5344CB8AC3E}">
        <p14:creationId xmlns:p14="http://schemas.microsoft.com/office/powerpoint/2010/main" val="2066149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MM: DEFECT MANAGMENT</a:t>
            </a:r>
            <a:endParaRPr lang="ru-RU" dirty="0"/>
          </a:p>
        </p:txBody>
      </p:sp>
      <p:sp>
        <p:nvSpPr>
          <p:cNvPr id="4" name="Slide Number Placeholder 3"/>
          <p:cNvSpPr>
            <a:spLocks noGrp="1"/>
          </p:cNvSpPr>
          <p:nvPr>
            <p:ph type="sldNum" sz="quarter" idx="11"/>
          </p:nvPr>
        </p:nvSpPr>
        <p:spPr/>
        <p:txBody>
          <a:bodyPr/>
          <a:lstStyle/>
          <a:p>
            <a:pPr fontAlgn="base">
              <a:spcAft>
                <a:spcPct val="0"/>
              </a:spcAft>
            </a:pPr>
            <a:fld id="{31ED8236-F742-4994-B025-3D78EEC04644}" type="slidenum">
              <a:rPr lang="en-US" noProof="0" smtClean="0"/>
              <a:pPr fontAlgn="base">
                <a:spcAft>
                  <a:spcPct val="0"/>
                </a:spcAft>
              </a:pPr>
              <a:t>6</a:t>
            </a:fld>
            <a:endParaRPr lang="en-US" noProof="0" dirty="0"/>
          </a:p>
        </p:txBody>
      </p:sp>
      <p:sp>
        <p:nvSpPr>
          <p:cNvPr id="5" name="Rectangle 4"/>
          <p:cNvSpPr/>
          <p:nvPr/>
        </p:nvSpPr>
        <p:spPr bwMode="gray">
          <a:xfrm>
            <a:off x="323997" y="830647"/>
            <a:ext cx="1734906" cy="4182787"/>
          </a:xfrm>
          <a:prstGeom prst="rect">
            <a:avLst/>
          </a:prstGeom>
          <a:solidFill>
            <a:schemeClr val="accent5">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457293"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No bug and task tracking systems are used</a:t>
            </a: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smtClean="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391900" fontAlgn="base">
              <a:lnSpc>
                <a:spcPct val="90000"/>
              </a:lnSpc>
              <a:buClr>
                <a:srgbClr val="E20074"/>
              </a:buClr>
              <a:buSzPct val="75000"/>
            </a:pPr>
            <a:endParaRPr lang="ru-RU" sz="2000" b="1" dirty="0" smtClean="0">
              <a:latin typeface="Segoe Condensed" panose="020B0606040200020203" pitchFamily="34" charset="0"/>
              <a:cs typeface="Arial Unicode MS" panose="020B0604020202020204" pitchFamily="34" charset="-128"/>
            </a:endParaRPr>
          </a:p>
        </p:txBody>
      </p:sp>
      <p:sp>
        <p:nvSpPr>
          <p:cNvPr id="6" name="Rectangle 5"/>
          <p:cNvSpPr/>
          <p:nvPr/>
        </p:nvSpPr>
        <p:spPr bwMode="gray">
          <a:xfrm>
            <a:off x="323996" y="5088464"/>
            <a:ext cx="1734906" cy="496456"/>
          </a:xfrm>
          <a:prstGeom prst="rect">
            <a:avLst/>
          </a:prstGeom>
          <a:solidFill>
            <a:schemeClr val="accent5">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a:latin typeface="Segoe UI Emoji" panose="020B0502040204020203" pitchFamily="34" charset="0"/>
                <a:ea typeface="Segoe UI Emoji" panose="020B0502040204020203" pitchFamily="34" charset="0"/>
                <a:cs typeface="Arial Unicode MS" panose="020B0604020202020204" pitchFamily="34" charset="-128"/>
              </a:rPr>
              <a:t>Manual</a:t>
            </a:r>
            <a:endParaRPr lang="ru-RU" sz="2400" b="1" dirty="0">
              <a:latin typeface="Tele-GroteskNor" pitchFamily="2" charset="0"/>
              <a:ea typeface="Segoe UI Emoji" panose="020B0502040204020203" pitchFamily="34" charset="0"/>
              <a:cs typeface="Arial Unicode MS" panose="020B0604020202020204" pitchFamily="34" charset="-128"/>
            </a:endParaRPr>
          </a:p>
        </p:txBody>
      </p:sp>
      <p:sp>
        <p:nvSpPr>
          <p:cNvPr id="7" name="Rectangle 6"/>
          <p:cNvSpPr/>
          <p:nvPr/>
        </p:nvSpPr>
        <p:spPr bwMode="gray">
          <a:xfrm>
            <a:off x="2137277" y="5087421"/>
            <a:ext cx="1674752" cy="497499"/>
          </a:xfrm>
          <a:prstGeom prst="rect">
            <a:avLst/>
          </a:prstGeom>
          <a:solidFill>
            <a:schemeClr val="accent5">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a:latin typeface="Segoe UI Emoji" panose="020B0502040204020203" pitchFamily="34" charset="0"/>
                <a:ea typeface="Segoe UI Emoji" panose="020B0502040204020203" pitchFamily="34" charset="0"/>
                <a:cs typeface="Arial Unicode MS" panose="020B0604020202020204" pitchFamily="34" charset="-128"/>
              </a:rPr>
              <a:t>Beginning</a:t>
            </a:r>
            <a:endParaRPr lang="ru-RU" sz="2400" b="1" dirty="0">
              <a:latin typeface="Tele-GroteskNor" pitchFamily="2" charset="0"/>
              <a:ea typeface="Segoe UI Emoji" panose="020B0502040204020203" pitchFamily="34" charset="0"/>
              <a:cs typeface="Arial Unicode MS" panose="020B0604020202020204" pitchFamily="34" charset="-128"/>
            </a:endParaRPr>
          </a:p>
        </p:txBody>
      </p:sp>
      <p:sp>
        <p:nvSpPr>
          <p:cNvPr id="8" name="Rectangle 7"/>
          <p:cNvSpPr/>
          <p:nvPr/>
        </p:nvSpPr>
        <p:spPr bwMode="gray">
          <a:xfrm>
            <a:off x="3898506" y="5088079"/>
            <a:ext cx="2163071" cy="497499"/>
          </a:xfrm>
          <a:prstGeom prst="rect">
            <a:avLst/>
          </a:prstGeom>
          <a:solidFill>
            <a:schemeClr val="accent5">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a:latin typeface="Segoe UI Emoji" panose="020B0502040204020203" pitchFamily="34" charset="0"/>
                <a:ea typeface="Segoe UI Emoji" panose="020B0502040204020203" pitchFamily="34" charset="0"/>
                <a:cs typeface="Arial Unicode MS" panose="020B0604020202020204" pitchFamily="34" charset="-128"/>
              </a:rPr>
              <a:t>Defined</a:t>
            </a:r>
            <a:endParaRPr lang="ru-RU" sz="2400" b="1" dirty="0">
              <a:latin typeface="Tele-GroteskNor" pitchFamily="2" charset="0"/>
              <a:ea typeface="Segoe UI Emoji" panose="020B0502040204020203" pitchFamily="34" charset="0"/>
              <a:cs typeface="Arial Unicode MS" panose="020B0604020202020204" pitchFamily="34" charset="-128"/>
            </a:endParaRPr>
          </a:p>
        </p:txBody>
      </p:sp>
      <p:sp>
        <p:nvSpPr>
          <p:cNvPr id="9" name="Rectangle 8"/>
          <p:cNvSpPr/>
          <p:nvPr/>
        </p:nvSpPr>
        <p:spPr bwMode="gray">
          <a:xfrm>
            <a:off x="6139952" y="5088079"/>
            <a:ext cx="2085496" cy="497499"/>
          </a:xfrm>
          <a:prstGeom prst="rect">
            <a:avLst/>
          </a:prstGeom>
          <a:solidFill>
            <a:schemeClr val="accent5">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a:latin typeface="Segoe UI Emoji" panose="020B0502040204020203" pitchFamily="34" charset="0"/>
                <a:ea typeface="Segoe UI Emoji" panose="020B0502040204020203" pitchFamily="34" charset="0"/>
                <a:cs typeface="Arial Unicode MS" panose="020B0604020202020204" pitchFamily="34" charset="-128"/>
              </a:rPr>
              <a:t>Advanced</a:t>
            </a:r>
          </a:p>
        </p:txBody>
      </p:sp>
      <p:sp>
        <p:nvSpPr>
          <p:cNvPr id="10" name="Rectangle 9"/>
          <p:cNvSpPr/>
          <p:nvPr/>
        </p:nvSpPr>
        <p:spPr bwMode="gray">
          <a:xfrm>
            <a:off x="8303821" y="5088079"/>
            <a:ext cx="2844106" cy="497499"/>
          </a:xfrm>
          <a:prstGeom prst="rect">
            <a:avLst/>
          </a:prstGeom>
          <a:solidFill>
            <a:schemeClr val="accent5">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smtClean="0">
                <a:latin typeface="Segoe UI Emoji" panose="020B0502040204020203" pitchFamily="34" charset="0"/>
                <a:ea typeface="Segoe UI Emoji" panose="020B0502040204020203" pitchFamily="34" charset="0"/>
                <a:cs typeface="Arial Unicode MS" panose="020B0604020202020204" pitchFamily="34" charset="-128"/>
              </a:rPr>
              <a:t>Matured</a:t>
            </a:r>
            <a:endParaRPr lang="en-US" sz="2400" b="1" dirty="0">
              <a:latin typeface="Segoe UI Emoji" panose="020B0502040204020203" pitchFamily="34" charset="0"/>
              <a:ea typeface="Segoe UI Emoji" panose="020B0502040204020203" pitchFamily="34" charset="0"/>
              <a:cs typeface="Arial Unicode MS" panose="020B0604020202020204" pitchFamily="34" charset="-128"/>
            </a:endParaRPr>
          </a:p>
        </p:txBody>
      </p:sp>
      <p:sp>
        <p:nvSpPr>
          <p:cNvPr id="11" name="Rectangle 10"/>
          <p:cNvSpPr/>
          <p:nvPr/>
        </p:nvSpPr>
        <p:spPr bwMode="gray">
          <a:xfrm>
            <a:off x="2137278" y="830647"/>
            <a:ext cx="1682854" cy="4182787"/>
          </a:xfrm>
          <a:prstGeom prst="rect">
            <a:avLst/>
          </a:prstGeom>
          <a:solidFill>
            <a:schemeClr val="accent5">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457293"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Defined defect tracking process with manual bugs and tasks creation</a:t>
            </a: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p:txBody>
      </p:sp>
      <p:sp>
        <p:nvSpPr>
          <p:cNvPr id="12" name="Rectangle 11"/>
          <p:cNvSpPr/>
          <p:nvPr/>
        </p:nvSpPr>
        <p:spPr bwMode="gray">
          <a:xfrm>
            <a:off x="3898507" y="830645"/>
            <a:ext cx="2163071" cy="4182789"/>
          </a:xfrm>
          <a:prstGeom prst="rect">
            <a:avLst/>
          </a:prstGeom>
          <a:solidFill>
            <a:schemeClr val="accent5">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457293"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Full integration with bug tracking and test management systems</a:t>
            </a:r>
          </a:p>
          <a:p>
            <a:pPr defTabSz="457293"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Defined bug triage process</a:t>
            </a: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en-US" sz="2000" b="1" dirty="0" smtClean="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p:txBody>
      </p:sp>
      <p:sp>
        <p:nvSpPr>
          <p:cNvPr id="13" name="Rectangle 12"/>
          <p:cNvSpPr/>
          <p:nvPr/>
        </p:nvSpPr>
        <p:spPr bwMode="gray">
          <a:xfrm>
            <a:off x="6139953" y="830647"/>
            <a:ext cx="2085495" cy="4182787"/>
          </a:xfrm>
          <a:prstGeom prst="rect">
            <a:avLst/>
          </a:prstGeom>
          <a:solidFill>
            <a:schemeClr val="accent5">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457293"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Defects are trapped and sent directly back through the fix, test creation, and regression test processes</a:t>
            </a:r>
          </a:p>
          <a:p>
            <a:pPr defTabSz="457293"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QA Test team is an integral part of product development (QA and Dev work together)</a:t>
            </a: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p:txBody>
      </p:sp>
      <p:sp>
        <p:nvSpPr>
          <p:cNvPr id="14" name="Rectangle 13"/>
          <p:cNvSpPr/>
          <p:nvPr/>
        </p:nvSpPr>
        <p:spPr bwMode="gray">
          <a:xfrm>
            <a:off x="8303822" y="830647"/>
            <a:ext cx="2844105" cy="4182787"/>
          </a:xfrm>
          <a:prstGeom prst="rect">
            <a:avLst/>
          </a:prstGeom>
          <a:solidFill>
            <a:schemeClr val="accent5">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defTabSz="457293"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Automatic defect prevention system (which is explore and directly reverts regressions)</a:t>
            </a:r>
          </a:p>
          <a:p>
            <a:pPr defTabSz="457293" fontAlgn="base">
              <a:lnSpc>
                <a:spcPct val="90000"/>
              </a:lnSpc>
              <a:buClr>
                <a:srgbClr val="E20074"/>
              </a:buClr>
              <a:buSzPct val="75000"/>
            </a:pPr>
            <a:endParaRPr lang="en-US"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r>
              <a:rPr lang="en-US" sz="2000" b="1" dirty="0">
                <a:latin typeface="Segoe Condensed" panose="020B0606040200020203" pitchFamily="34" charset="0"/>
                <a:cs typeface="Arial Unicode MS" panose="020B0604020202020204" pitchFamily="34" charset="-128"/>
              </a:rPr>
              <a:t>Risk-based testing (RBT) system is used</a:t>
            </a: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en-US" sz="2000" b="1" dirty="0" smtClean="0">
              <a:latin typeface="Segoe Condensed" panose="020B0606040200020203" pitchFamily="34" charset="0"/>
              <a:cs typeface="Arial Unicode MS" panose="020B0604020202020204" pitchFamily="34" charset="-128"/>
            </a:endParaRPr>
          </a:p>
          <a:p>
            <a:pPr defTabSz="457293" fontAlgn="base">
              <a:lnSpc>
                <a:spcPct val="90000"/>
              </a:lnSpc>
              <a:buClr>
                <a:srgbClr val="E20074"/>
              </a:buClr>
              <a:buSzPct val="75000"/>
            </a:pPr>
            <a:endParaRPr lang="ru-RU" sz="2000" b="1" dirty="0">
              <a:latin typeface="Segoe Condensed" panose="020B0606040200020203" pitchFamily="34" charset="0"/>
              <a:cs typeface="Arial Unicode MS" panose="020B0604020202020204" pitchFamily="34" charset="-128"/>
            </a:endParaRPr>
          </a:p>
        </p:txBody>
      </p:sp>
    </p:spTree>
    <p:extLst>
      <p:ext uri="{BB962C8B-B14F-4D97-AF65-F5344CB8AC3E}">
        <p14:creationId xmlns:p14="http://schemas.microsoft.com/office/powerpoint/2010/main" val="263800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MM: </a:t>
            </a:r>
            <a:r>
              <a:rPr lang="en-US" dirty="0" smtClean="0"/>
              <a:t>DEVOPS INTEGRATION</a:t>
            </a:r>
            <a:endParaRPr lang="ru-RU" dirty="0"/>
          </a:p>
        </p:txBody>
      </p:sp>
      <p:sp>
        <p:nvSpPr>
          <p:cNvPr id="4" name="Slide Number Placeholder 3"/>
          <p:cNvSpPr>
            <a:spLocks noGrp="1"/>
          </p:cNvSpPr>
          <p:nvPr>
            <p:ph type="sldNum" sz="quarter" idx="11"/>
          </p:nvPr>
        </p:nvSpPr>
        <p:spPr/>
        <p:txBody>
          <a:bodyPr/>
          <a:lstStyle/>
          <a:p>
            <a:pPr fontAlgn="base">
              <a:spcAft>
                <a:spcPct val="0"/>
              </a:spcAft>
            </a:pPr>
            <a:fld id="{31ED8236-F742-4994-B025-3D78EEC04644}" type="slidenum">
              <a:rPr lang="en-US" noProof="0" smtClean="0"/>
              <a:pPr fontAlgn="base">
                <a:spcAft>
                  <a:spcPct val="0"/>
                </a:spcAft>
              </a:pPr>
              <a:t>7</a:t>
            </a:fld>
            <a:endParaRPr lang="en-US" noProof="0" dirty="0"/>
          </a:p>
        </p:txBody>
      </p:sp>
      <p:sp>
        <p:nvSpPr>
          <p:cNvPr id="5" name="Rectangle 4"/>
          <p:cNvSpPr/>
          <p:nvPr/>
        </p:nvSpPr>
        <p:spPr bwMode="gray">
          <a:xfrm>
            <a:off x="323997" y="830647"/>
            <a:ext cx="1734906" cy="4182787"/>
          </a:xfrm>
          <a:prstGeom prst="rect">
            <a:avLst/>
          </a:prstGeom>
          <a:solidFill>
            <a:schemeClr val="bg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r>
              <a:rPr lang="en-US" sz="1600" b="1" dirty="0">
                <a:latin typeface="Segoe Condensed" panose="020B0606040200020203" pitchFamily="34" charset="0"/>
                <a:cs typeface="Arial" panose="020B0604020202020204" pitchFamily="34" charset="0"/>
              </a:rPr>
              <a:t>Manual delivery of software changes once in 4 months.</a:t>
            </a:r>
          </a:p>
          <a:p>
            <a:endParaRPr lang="en-US" sz="1600" b="1" dirty="0">
              <a:latin typeface="Segoe Condensed" panose="020B0606040200020203" pitchFamily="34" charset="0"/>
              <a:cs typeface="Arial" panose="020B0604020202020204" pitchFamily="34" charset="0"/>
            </a:endParaRPr>
          </a:p>
          <a:p>
            <a:r>
              <a:rPr lang="en-US" sz="1600" b="1" dirty="0">
                <a:latin typeface="Segoe Condensed" panose="020B0606040200020203" pitchFamily="34" charset="0"/>
                <a:cs typeface="Arial" panose="020B0604020202020204" pitchFamily="34" charset="0"/>
              </a:rPr>
              <a:t>Manual installations of application</a:t>
            </a:r>
          </a:p>
          <a:p>
            <a:endParaRPr lang="en-US" sz="1600" b="1" dirty="0">
              <a:latin typeface="Segoe Condensed" panose="020B0606040200020203" pitchFamily="34" charset="0"/>
              <a:cs typeface="Arial" panose="020B0604020202020204" pitchFamily="34" charset="0"/>
            </a:endParaRPr>
          </a:p>
          <a:p>
            <a:r>
              <a:rPr lang="en-US" sz="1600" b="1" dirty="0">
                <a:latin typeface="Segoe Condensed" panose="020B0606040200020203" pitchFamily="34" charset="0"/>
                <a:cs typeface="Arial" panose="020B0604020202020204" pitchFamily="34" charset="0"/>
              </a:rPr>
              <a:t>One monolithic application</a:t>
            </a:r>
          </a:p>
          <a:p>
            <a:endParaRPr lang="en-US" sz="1600" b="1" dirty="0">
              <a:latin typeface="Segoe Condensed" panose="020B0606040200020203" pitchFamily="34" charset="0"/>
              <a:cs typeface="Arial" panose="020B0604020202020204" pitchFamily="34" charset="0"/>
            </a:endParaRPr>
          </a:p>
          <a:p>
            <a:r>
              <a:rPr lang="en-US" sz="1600" b="1" dirty="0">
                <a:latin typeface="Segoe Condensed" panose="020B0606040200020203" pitchFamily="34" charset="0"/>
                <a:cs typeface="Arial" panose="020B0604020202020204" pitchFamily="34" charset="0"/>
              </a:rPr>
              <a:t>No build </a:t>
            </a:r>
            <a:r>
              <a:rPr lang="en-US" sz="1600" b="1" dirty="0" smtClean="0">
                <a:latin typeface="Segoe Condensed" panose="020B0606040200020203" pitchFamily="34" charset="0"/>
                <a:cs typeface="Arial" panose="020B0604020202020204" pitchFamily="34" charset="0"/>
              </a:rPr>
              <a:t>versioning</a:t>
            </a:r>
          </a:p>
          <a:p>
            <a:endParaRPr lang="en-US" sz="1600" b="1" dirty="0">
              <a:latin typeface="Segoe Condensed" panose="020B0606040200020203" pitchFamily="34" charset="0"/>
              <a:cs typeface="Arial" panose="020B0604020202020204" pitchFamily="34" charset="0"/>
            </a:endParaRPr>
          </a:p>
          <a:p>
            <a:endParaRPr lang="en-US" sz="1600" b="1" dirty="0" smtClean="0">
              <a:latin typeface="Segoe Condensed" panose="020B0606040200020203" pitchFamily="34" charset="0"/>
              <a:cs typeface="Arial" panose="020B0604020202020204" pitchFamily="34" charset="0"/>
            </a:endParaRPr>
          </a:p>
          <a:p>
            <a:endParaRPr lang="en-US" sz="1600" b="1" dirty="0">
              <a:latin typeface="Segoe Condensed" panose="020B0606040200020203" pitchFamily="34" charset="0"/>
              <a:cs typeface="Arial" panose="020B0604020202020204" pitchFamily="34" charset="0"/>
            </a:endParaRPr>
          </a:p>
          <a:p>
            <a:endParaRPr lang="en-US" sz="1600" b="1" dirty="0" smtClean="0">
              <a:latin typeface="Segoe Condensed" panose="020B0606040200020203" pitchFamily="34" charset="0"/>
              <a:cs typeface="Arial" panose="020B0604020202020204" pitchFamily="34" charset="0"/>
            </a:endParaRPr>
          </a:p>
          <a:p>
            <a:endParaRPr lang="en-US" sz="1600" b="1" dirty="0">
              <a:latin typeface="Segoe Condensed" panose="020B0606040200020203" pitchFamily="34" charset="0"/>
              <a:cs typeface="Arial" panose="020B0604020202020204" pitchFamily="34" charset="0"/>
            </a:endParaRPr>
          </a:p>
        </p:txBody>
      </p:sp>
      <p:sp>
        <p:nvSpPr>
          <p:cNvPr id="6" name="Rectangle 5"/>
          <p:cNvSpPr/>
          <p:nvPr/>
        </p:nvSpPr>
        <p:spPr bwMode="gray">
          <a:xfrm>
            <a:off x="323996" y="5088464"/>
            <a:ext cx="1734906" cy="496456"/>
          </a:xfrm>
          <a:prstGeom prst="rect">
            <a:avLst/>
          </a:prstGeom>
          <a:solidFill>
            <a:schemeClr val="bg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a:latin typeface="Segoe UI Emoji" panose="020B0502040204020203" pitchFamily="34" charset="0"/>
                <a:ea typeface="Segoe UI Emoji" panose="020B0502040204020203" pitchFamily="34" charset="0"/>
                <a:cs typeface="Arial Unicode MS" panose="020B0604020202020204" pitchFamily="34" charset="-128"/>
              </a:rPr>
              <a:t>Manual</a:t>
            </a:r>
            <a:endParaRPr lang="ru-RU" sz="2400" b="1" dirty="0">
              <a:latin typeface="Tele-GroteskNor" pitchFamily="2" charset="0"/>
              <a:ea typeface="Segoe UI Emoji" panose="020B0502040204020203" pitchFamily="34" charset="0"/>
              <a:cs typeface="Arial Unicode MS" panose="020B0604020202020204" pitchFamily="34" charset="-128"/>
            </a:endParaRPr>
          </a:p>
        </p:txBody>
      </p:sp>
      <p:sp>
        <p:nvSpPr>
          <p:cNvPr id="7" name="Rectangle 6"/>
          <p:cNvSpPr/>
          <p:nvPr/>
        </p:nvSpPr>
        <p:spPr bwMode="gray">
          <a:xfrm>
            <a:off x="2137277" y="5087421"/>
            <a:ext cx="1674752" cy="497499"/>
          </a:xfrm>
          <a:prstGeom prst="rect">
            <a:avLst/>
          </a:prstGeom>
          <a:solidFill>
            <a:schemeClr val="bg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a:latin typeface="Segoe UI Emoji" panose="020B0502040204020203" pitchFamily="34" charset="0"/>
                <a:ea typeface="Segoe UI Emoji" panose="020B0502040204020203" pitchFamily="34" charset="0"/>
                <a:cs typeface="Arial Unicode MS" panose="020B0604020202020204" pitchFamily="34" charset="-128"/>
              </a:rPr>
              <a:t>Beginning</a:t>
            </a:r>
            <a:endParaRPr lang="ru-RU" sz="2400" b="1" dirty="0">
              <a:latin typeface="Tele-GroteskNor" pitchFamily="2" charset="0"/>
              <a:ea typeface="Segoe UI Emoji" panose="020B0502040204020203" pitchFamily="34" charset="0"/>
              <a:cs typeface="Arial Unicode MS" panose="020B0604020202020204" pitchFamily="34" charset="-128"/>
            </a:endParaRPr>
          </a:p>
        </p:txBody>
      </p:sp>
      <p:sp>
        <p:nvSpPr>
          <p:cNvPr id="8" name="Rectangle 7"/>
          <p:cNvSpPr/>
          <p:nvPr/>
        </p:nvSpPr>
        <p:spPr bwMode="gray">
          <a:xfrm>
            <a:off x="3898506" y="5088079"/>
            <a:ext cx="2163071" cy="497499"/>
          </a:xfrm>
          <a:prstGeom prst="rect">
            <a:avLst/>
          </a:prstGeom>
          <a:solidFill>
            <a:schemeClr val="bg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a:latin typeface="Segoe UI Emoji" panose="020B0502040204020203" pitchFamily="34" charset="0"/>
                <a:ea typeface="Segoe UI Emoji" panose="020B0502040204020203" pitchFamily="34" charset="0"/>
                <a:cs typeface="Arial Unicode MS" panose="020B0604020202020204" pitchFamily="34" charset="-128"/>
              </a:rPr>
              <a:t>Defined</a:t>
            </a:r>
            <a:endParaRPr lang="ru-RU" sz="2400" b="1" dirty="0">
              <a:latin typeface="Tele-GroteskNor" pitchFamily="2" charset="0"/>
              <a:ea typeface="Segoe UI Emoji" panose="020B0502040204020203" pitchFamily="34" charset="0"/>
              <a:cs typeface="Arial Unicode MS" panose="020B0604020202020204" pitchFamily="34" charset="-128"/>
            </a:endParaRPr>
          </a:p>
        </p:txBody>
      </p:sp>
      <p:sp>
        <p:nvSpPr>
          <p:cNvPr id="9" name="Rectangle 8"/>
          <p:cNvSpPr/>
          <p:nvPr/>
        </p:nvSpPr>
        <p:spPr bwMode="gray">
          <a:xfrm>
            <a:off x="6139952" y="5088079"/>
            <a:ext cx="2085496" cy="497499"/>
          </a:xfrm>
          <a:prstGeom prst="rect">
            <a:avLst/>
          </a:prstGeom>
          <a:solidFill>
            <a:schemeClr val="bg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a:latin typeface="Segoe UI Emoji" panose="020B0502040204020203" pitchFamily="34" charset="0"/>
                <a:ea typeface="Segoe UI Emoji" panose="020B0502040204020203" pitchFamily="34" charset="0"/>
                <a:cs typeface="Arial Unicode MS" panose="020B0604020202020204" pitchFamily="34" charset="-128"/>
              </a:rPr>
              <a:t>Advanced</a:t>
            </a:r>
          </a:p>
        </p:txBody>
      </p:sp>
      <p:sp>
        <p:nvSpPr>
          <p:cNvPr id="10" name="Rectangle 9"/>
          <p:cNvSpPr/>
          <p:nvPr/>
        </p:nvSpPr>
        <p:spPr bwMode="gray">
          <a:xfrm>
            <a:off x="8303821" y="5088079"/>
            <a:ext cx="2844106" cy="497499"/>
          </a:xfrm>
          <a:prstGeom prst="rect">
            <a:avLst/>
          </a:prstGeom>
          <a:solidFill>
            <a:schemeClr val="bg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pPr algn="ctr" defTabSz="391900" fontAlgn="base">
              <a:lnSpc>
                <a:spcPct val="90000"/>
              </a:lnSpc>
              <a:buClr>
                <a:srgbClr val="E20074"/>
              </a:buClr>
              <a:buSzPct val="75000"/>
            </a:pPr>
            <a:r>
              <a:rPr lang="en-US" sz="2400" b="1" dirty="0" smtClean="0">
                <a:latin typeface="Segoe UI Emoji" panose="020B0502040204020203" pitchFamily="34" charset="0"/>
                <a:ea typeface="Segoe UI Emoji" panose="020B0502040204020203" pitchFamily="34" charset="0"/>
                <a:cs typeface="Arial Unicode MS" panose="020B0604020202020204" pitchFamily="34" charset="-128"/>
              </a:rPr>
              <a:t>Matured</a:t>
            </a:r>
            <a:endParaRPr lang="en-US" sz="2400" b="1" dirty="0">
              <a:latin typeface="Segoe UI Emoji" panose="020B0502040204020203" pitchFamily="34" charset="0"/>
              <a:ea typeface="Segoe UI Emoji" panose="020B0502040204020203" pitchFamily="34" charset="0"/>
              <a:cs typeface="Arial Unicode MS" panose="020B0604020202020204" pitchFamily="34" charset="-128"/>
            </a:endParaRPr>
          </a:p>
        </p:txBody>
      </p:sp>
      <p:sp>
        <p:nvSpPr>
          <p:cNvPr id="11" name="Rectangle 10"/>
          <p:cNvSpPr/>
          <p:nvPr/>
        </p:nvSpPr>
        <p:spPr bwMode="gray">
          <a:xfrm>
            <a:off x="2137278" y="830647"/>
            <a:ext cx="1682854" cy="4182787"/>
          </a:xfrm>
          <a:prstGeom prst="rect">
            <a:avLst/>
          </a:prstGeom>
          <a:solidFill>
            <a:schemeClr val="bg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r>
              <a:rPr lang="en-US" sz="1600" b="1" dirty="0">
                <a:latin typeface="Segoe Condensed" panose="020B0606040200020203" pitchFamily="34" charset="0"/>
                <a:cs typeface="Arial" panose="020B0604020202020204" pitchFamily="34" charset="0"/>
              </a:rPr>
              <a:t>Manual or semi automated delivery of software changes once in 4 months.</a:t>
            </a:r>
          </a:p>
          <a:p>
            <a:endParaRPr lang="en-US" sz="1600" b="1" dirty="0">
              <a:latin typeface="Segoe Condensed" panose="020B0606040200020203" pitchFamily="34" charset="0"/>
              <a:cs typeface="Arial" panose="020B0604020202020204" pitchFamily="34" charset="0"/>
            </a:endParaRPr>
          </a:p>
          <a:p>
            <a:r>
              <a:rPr lang="en-US" sz="1600" b="1" dirty="0">
                <a:latin typeface="Segoe Condensed" panose="020B0606040200020203" pitchFamily="34" charset="0"/>
                <a:cs typeface="Arial" panose="020B0604020202020204" pitchFamily="34" charset="0"/>
              </a:rPr>
              <a:t>Semi automated installations. Versioning of the delivered builds</a:t>
            </a:r>
          </a:p>
          <a:p>
            <a:endParaRPr lang="en-US" sz="1600" b="1" dirty="0">
              <a:latin typeface="Segoe Condensed" panose="020B0606040200020203" pitchFamily="34" charset="0"/>
              <a:cs typeface="Arial" panose="020B0604020202020204" pitchFamily="34" charset="0"/>
            </a:endParaRPr>
          </a:p>
          <a:p>
            <a:endParaRPr lang="en-US" sz="1600" b="1" dirty="0">
              <a:latin typeface="Segoe Condensed" panose="020B0606040200020203" pitchFamily="34" charset="0"/>
              <a:cs typeface="Arial" panose="020B0604020202020204" pitchFamily="34" charset="0"/>
            </a:endParaRPr>
          </a:p>
          <a:p>
            <a:endParaRPr lang="en-US" sz="1600" b="1" dirty="0">
              <a:latin typeface="Segoe Condensed" panose="020B0606040200020203" pitchFamily="34" charset="0"/>
              <a:cs typeface="Arial" panose="020B0604020202020204" pitchFamily="34" charset="0"/>
            </a:endParaRPr>
          </a:p>
          <a:p>
            <a:endParaRPr lang="ru-RU" sz="1600" b="1" dirty="0">
              <a:latin typeface="Segoe Condensed" panose="020B0606040200020203" pitchFamily="34" charset="0"/>
              <a:cs typeface="Arial" panose="020B0604020202020204" pitchFamily="34" charset="0"/>
            </a:endParaRPr>
          </a:p>
          <a:p>
            <a:endParaRPr lang="en-US" sz="1600" b="1" dirty="0">
              <a:latin typeface="Segoe Condensed" panose="020B0606040200020203" pitchFamily="34" charset="0"/>
              <a:cs typeface="Arial" panose="020B0604020202020204" pitchFamily="34" charset="0"/>
            </a:endParaRPr>
          </a:p>
          <a:p>
            <a:endParaRPr lang="en-US" sz="1600" b="1" dirty="0">
              <a:latin typeface="Segoe Condensed" panose="020B0606040200020203" pitchFamily="34" charset="0"/>
              <a:cs typeface="Arial" panose="020B0604020202020204" pitchFamily="34" charset="0"/>
            </a:endParaRPr>
          </a:p>
        </p:txBody>
      </p:sp>
      <p:sp>
        <p:nvSpPr>
          <p:cNvPr id="12" name="Rectangle 11"/>
          <p:cNvSpPr/>
          <p:nvPr/>
        </p:nvSpPr>
        <p:spPr bwMode="gray">
          <a:xfrm>
            <a:off x="3898507" y="830645"/>
            <a:ext cx="2163071" cy="4182789"/>
          </a:xfrm>
          <a:prstGeom prst="rect">
            <a:avLst/>
          </a:prstGeom>
          <a:solidFill>
            <a:schemeClr val="bg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r>
              <a:rPr lang="en-US" sz="1600" b="1" dirty="0">
                <a:latin typeface="Segoe Condensed" panose="020B0606040200020203" pitchFamily="34" charset="0"/>
                <a:cs typeface="Arial" panose="020B0604020202020204" pitchFamily="34" charset="0"/>
              </a:rPr>
              <a:t>Semi automated deliveries of versioned software on demand</a:t>
            </a:r>
          </a:p>
          <a:p>
            <a:endParaRPr lang="en-US" sz="1600" b="1" dirty="0">
              <a:latin typeface="Segoe Condensed" panose="020B0606040200020203" pitchFamily="34" charset="0"/>
              <a:cs typeface="Arial" panose="020B0604020202020204" pitchFamily="34" charset="0"/>
            </a:endParaRPr>
          </a:p>
          <a:p>
            <a:r>
              <a:rPr lang="en-US" sz="1600" b="1" dirty="0">
                <a:latin typeface="Segoe Condensed" panose="020B0606040200020203" pitchFamily="34" charset="0"/>
                <a:cs typeface="Arial" panose="020B0604020202020204" pitchFamily="34" charset="0"/>
              </a:rPr>
              <a:t>Automated installations with rolling updated</a:t>
            </a:r>
          </a:p>
          <a:p>
            <a:endParaRPr lang="en-US" sz="1600" b="1" dirty="0">
              <a:latin typeface="Segoe Condensed" panose="020B0606040200020203" pitchFamily="34" charset="0"/>
              <a:cs typeface="Arial" panose="020B0604020202020204" pitchFamily="34" charset="0"/>
            </a:endParaRPr>
          </a:p>
          <a:p>
            <a:r>
              <a:rPr lang="en-US" sz="1600" b="1" dirty="0">
                <a:latin typeface="Segoe Condensed" panose="020B0606040200020203" pitchFamily="34" charset="0"/>
                <a:cs typeface="Arial" panose="020B0604020202020204" pitchFamily="34" charset="0"/>
              </a:rPr>
              <a:t>Automated version tagging of </a:t>
            </a:r>
          </a:p>
          <a:p>
            <a:r>
              <a:rPr lang="en-US" sz="1600" b="1" dirty="0">
                <a:latin typeface="Segoe Condensed" panose="020B0606040200020203" pitchFamily="34" charset="0"/>
                <a:cs typeface="Arial" panose="020B0604020202020204" pitchFamily="34" charset="0"/>
              </a:rPr>
              <a:t>the builds</a:t>
            </a:r>
          </a:p>
          <a:p>
            <a:endParaRPr lang="en-US" sz="1600" b="1" dirty="0">
              <a:latin typeface="Segoe Condensed" panose="020B0606040200020203" pitchFamily="34" charset="0"/>
              <a:cs typeface="Arial" panose="020B0604020202020204" pitchFamily="34" charset="0"/>
            </a:endParaRPr>
          </a:p>
          <a:p>
            <a:endParaRPr lang="en-US" sz="1600" b="1" dirty="0">
              <a:latin typeface="Segoe Condensed" panose="020B0606040200020203" pitchFamily="34" charset="0"/>
              <a:cs typeface="Arial" panose="020B0604020202020204" pitchFamily="34" charset="0"/>
            </a:endParaRPr>
          </a:p>
          <a:p>
            <a:endParaRPr lang="en-US" sz="1600" b="1" dirty="0">
              <a:latin typeface="Segoe Condensed" panose="020B0606040200020203" pitchFamily="34" charset="0"/>
              <a:cs typeface="Arial" panose="020B0604020202020204" pitchFamily="34" charset="0"/>
            </a:endParaRPr>
          </a:p>
          <a:p>
            <a:endParaRPr lang="en-US" sz="1600" b="1" dirty="0">
              <a:latin typeface="Segoe Condensed" panose="020B0606040200020203" pitchFamily="34" charset="0"/>
              <a:cs typeface="Arial" panose="020B0604020202020204" pitchFamily="34" charset="0"/>
            </a:endParaRPr>
          </a:p>
          <a:p>
            <a:endParaRPr lang="en-US" sz="1600" b="1" dirty="0">
              <a:latin typeface="Segoe Condensed" panose="020B0606040200020203" pitchFamily="34" charset="0"/>
              <a:cs typeface="Arial" panose="020B0604020202020204" pitchFamily="34" charset="0"/>
            </a:endParaRPr>
          </a:p>
          <a:p>
            <a:endParaRPr lang="en-US" sz="1600" b="1" dirty="0">
              <a:latin typeface="Segoe Condensed" panose="020B0606040200020203" pitchFamily="34" charset="0"/>
              <a:cs typeface="Arial" panose="020B0604020202020204" pitchFamily="34" charset="0"/>
            </a:endParaRPr>
          </a:p>
        </p:txBody>
      </p:sp>
      <p:sp>
        <p:nvSpPr>
          <p:cNvPr id="13" name="Rectangle 12"/>
          <p:cNvSpPr/>
          <p:nvPr/>
        </p:nvSpPr>
        <p:spPr bwMode="gray">
          <a:xfrm>
            <a:off x="6139953" y="830647"/>
            <a:ext cx="2085495" cy="4182787"/>
          </a:xfrm>
          <a:prstGeom prst="rect">
            <a:avLst/>
          </a:prstGeom>
          <a:solidFill>
            <a:schemeClr val="bg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r>
              <a:rPr lang="en-US" sz="1600" b="1" dirty="0">
                <a:solidFill>
                  <a:srgbClr val="464646"/>
                </a:solidFill>
                <a:latin typeface="Segoe Condensed" panose="020B0606040200020203" pitchFamily="34" charset="0"/>
              </a:rPr>
              <a:t>Automated continuous delivery of software after implementation and test</a:t>
            </a:r>
            <a:endParaRPr lang="ru-RU" sz="1600" b="1" dirty="0">
              <a:solidFill>
                <a:srgbClr val="464646"/>
              </a:solidFill>
              <a:latin typeface="Segoe Condensed" panose="020B0606040200020203" pitchFamily="34" charset="0"/>
            </a:endParaRPr>
          </a:p>
          <a:p>
            <a:endParaRPr lang="en-US" sz="900" b="1" dirty="0">
              <a:solidFill>
                <a:srgbClr val="464646"/>
              </a:solidFill>
              <a:latin typeface="Segoe Condensed" panose="020B0606040200020203" pitchFamily="34" charset="0"/>
            </a:endParaRPr>
          </a:p>
          <a:p>
            <a:r>
              <a:rPr lang="en-US" sz="1600" b="1" dirty="0">
                <a:solidFill>
                  <a:srgbClr val="464646"/>
                </a:solidFill>
                <a:latin typeface="Segoe Condensed" panose="020B0606040200020203" pitchFamily="34" charset="0"/>
              </a:rPr>
              <a:t>Automated installations without downtime</a:t>
            </a:r>
            <a:endParaRPr lang="ru-RU" sz="1600" b="1" dirty="0">
              <a:solidFill>
                <a:srgbClr val="464646"/>
              </a:solidFill>
              <a:latin typeface="Segoe Condensed" panose="020B0606040200020203" pitchFamily="34" charset="0"/>
            </a:endParaRPr>
          </a:p>
          <a:p>
            <a:endParaRPr lang="en-US" sz="900" b="1" dirty="0">
              <a:solidFill>
                <a:srgbClr val="464646"/>
              </a:solidFill>
              <a:latin typeface="Segoe Condensed" panose="020B0606040200020203" pitchFamily="34" charset="0"/>
            </a:endParaRPr>
          </a:p>
          <a:p>
            <a:r>
              <a:rPr lang="en-US" sz="1600" b="1" dirty="0">
                <a:solidFill>
                  <a:srgbClr val="464646"/>
                </a:solidFill>
                <a:latin typeface="Segoe Condensed" panose="020B0606040200020203" pitchFamily="34" charset="0"/>
              </a:rPr>
              <a:t>Feature branch development with auto merging</a:t>
            </a:r>
            <a:endParaRPr lang="ru-RU" sz="1600" b="1" dirty="0">
              <a:solidFill>
                <a:srgbClr val="464646"/>
              </a:solidFill>
              <a:latin typeface="Segoe Condensed" panose="020B0606040200020203" pitchFamily="34" charset="0"/>
            </a:endParaRPr>
          </a:p>
          <a:p>
            <a:endParaRPr lang="en-US" sz="900" b="1" dirty="0">
              <a:solidFill>
                <a:srgbClr val="464646"/>
              </a:solidFill>
              <a:latin typeface="Segoe Condensed" panose="020B0606040200020203" pitchFamily="34" charset="0"/>
            </a:endParaRPr>
          </a:p>
          <a:p>
            <a:r>
              <a:rPr lang="en-US" sz="1600" b="1" dirty="0">
                <a:solidFill>
                  <a:srgbClr val="464646"/>
                </a:solidFill>
                <a:latin typeface="Segoe Condensed" panose="020B0606040200020203" pitchFamily="34" charset="0"/>
              </a:rPr>
              <a:t>Splitting the deliveries into stateless services (components)</a:t>
            </a:r>
          </a:p>
          <a:p>
            <a:endParaRPr lang="en-US" sz="1600" b="1" dirty="0">
              <a:solidFill>
                <a:srgbClr val="464646"/>
              </a:solidFill>
              <a:latin typeface="Segoe Condensed" panose="020B0606040200020203" pitchFamily="34" charset="0"/>
            </a:endParaRPr>
          </a:p>
          <a:p>
            <a:endParaRPr lang="en-US" sz="1600" b="1" dirty="0">
              <a:solidFill>
                <a:srgbClr val="464646"/>
              </a:solidFill>
              <a:latin typeface="Segoe Condensed" panose="020B0606040200020203" pitchFamily="34" charset="0"/>
            </a:endParaRPr>
          </a:p>
          <a:p>
            <a:endParaRPr lang="en-US" sz="1600" b="1" dirty="0">
              <a:solidFill>
                <a:srgbClr val="464646"/>
              </a:solidFill>
              <a:latin typeface="Segoe Condensed" panose="020B0606040200020203" pitchFamily="34" charset="0"/>
            </a:endParaRPr>
          </a:p>
        </p:txBody>
      </p:sp>
      <p:sp>
        <p:nvSpPr>
          <p:cNvPr id="14" name="Rectangle 13"/>
          <p:cNvSpPr/>
          <p:nvPr/>
        </p:nvSpPr>
        <p:spPr bwMode="gray">
          <a:xfrm>
            <a:off x="8303822" y="830647"/>
            <a:ext cx="2844105" cy="4182787"/>
          </a:xfrm>
          <a:prstGeom prst="rect">
            <a:avLst/>
          </a:prstGeom>
          <a:solidFill>
            <a:schemeClr val="bg2">
              <a:lumMod val="60000"/>
              <a:lumOff val="40000"/>
              <a:alpha val="65000"/>
            </a:schemeClr>
          </a:solidFill>
          <a:ln w="19050" algn="ctr">
            <a:noFill/>
            <a:miter lim="800000"/>
            <a:headEnd/>
            <a:tailEnd/>
          </a:ln>
          <a:effectLst/>
        </p:spPr>
        <p:txBody>
          <a:bodyPr wrap="square" lIns="92558" tIns="92558" rIns="92558" bIns="92558" rtlCol="0" anchor="ctr" anchorCtr="0">
            <a:noAutofit/>
          </a:bodyPr>
          <a:lstStyle/>
          <a:p>
            <a:r>
              <a:rPr lang="en-US" sz="1600" b="1" dirty="0">
                <a:solidFill>
                  <a:srgbClr val="464646"/>
                </a:solidFill>
                <a:latin typeface="Segoe Condensed" panose="020B0606040200020203" pitchFamily="34" charset="0"/>
              </a:rPr>
              <a:t>Automated continuous delivery of software after implementation and automated test</a:t>
            </a:r>
          </a:p>
          <a:p>
            <a:endParaRPr lang="en-US" sz="900" b="1" dirty="0">
              <a:solidFill>
                <a:srgbClr val="464646"/>
              </a:solidFill>
              <a:latin typeface="Segoe Condensed" panose="020B0606040200020203" pitchFamily="34" charset="0"/>
            </a:endParaRPr>
          </a:p>
          <a:p>
            <a:r>
              <a:rPr lang="en-US" sz="1600" b="1" dirty="0">
                <a:solidFill>
                  <a:srgbClr val="464646"/>
                </a:solidFill>
                <a:latin typeface="Segoe Condensed" panose="020B0606040200020203" pitchFamily="34" charset="0"/>
              </a:rPr>
              <a:t>Automated rolling installation without downtime of new versions of components.</a:t>
            </a:r>
          </a:p>
          <a:p>
            <a:endParaRPr lang="en-US" sz="900" b="1" dirty="0">
              <a:solidFill>
                <a:srgbClr val="464646"/>
              </a:solidFill>
              <a:latin typeface="Segoe Condensed" panose="020B0606040200020203" pitchFamily="34" charset="0"/>
            </a:endParaRPr>
          </a:p>
          <a:p>
            <a:r>
              <a:rPr lang="en-US" sz="1600" b="1" dirty="0">
                <a:solidFill>
                  <a:srgbClr val="464646"/>
                </a:solidFill>
                <a:latin typeface="Segoe Condensed" panose="020B0606040200020203" pitchFamily="34" charset="0"/>
              </a:rPr>
              <a:t>Backwards compatibility of the versions between components</a:t>
            </a:r>
          </a:p>
          <a:p>
            <a:endParaRPr lang="en-US" sz="900" b="1" dirty="0">
              <a:solidFill>
                <a:srgbClr val="464646"/>
              </a:solidFill>
              <a:latin typeface="Segoe Condensed" panose="020B0606040200020203" pitchFamily="34" charset="0"/>
            </a:endParaRPr>
          </a:p>
          <a:p>
            <a:r>
              <a:rPr lang="en-US" sz="1600" b="1" dirty="0">
                <a:solidFill>
                  <a:srgbClr val="464646"/>
                </a:solidFill>
                <a:latin typeface="Segoe Condensed" panose="020B0606040200020203" pitchFamily="34" charset="0"/>
              </a:rPr>
              <a:t>Automated scaling of services</a:t>
            </a:r>
          </a:p>
          <a:p>
            <a:r>
              <a:rPr lang="en-US" sz="1600" b="1" dirty="0">
                <a:solidFill>
                  <a:srgbClr val="464646"/>
                </a:solidFill>
                <a:latin typeface="Segoe Condensed" panose="020B0606040200020203" pitchFamily="34" charset="0"/>
              </a:rPr>
              <a:t>Master branch development with feature </a:t>
            </a:r>
            <a:r>
              <a:rPr lang="en-US" sz="1600" b="1" dirty="0" smtClean="0">
                <a:solidFill>
                  <a:srgbClr val="464646"/>
                </a:solidFill>
                <a:latin typeface="Segoe Condensed" panose="020B0606040200020203" pitchFamily="34" charset="0"/>
              </a:rPr>
              <a:t>toggling</a:t>
            </a:r>
          </a:p>
          <a:p>
            <a:endParaRPr lang="en-US" sz="1600" b="1" dirty="0">
              <a:solidFill>
                <a:srgbClr val="464646"/>
              </a:solidFill>
              <a:latin typeface="Segoe Condensed" panose="020B0606040200020203" pitchFamily="34" charset="0"/>
            </a:endParaRPr>
          </a:p>
          <a:p>
            <a:endParaRPr lang="en-US" sz="1600" b="1" dirty="0" smtClean="0">
              <a:solidFill>
                <a:srgbClr val="464646"/>
              </a:solidFill>
              <a:latin typeface="Segoe Condensed" panose="020B0606040200020203" pitchFamily="34" charset="0"/>
            </a:endParaRPr>
          </a:p>
          <a:p>
            <a:endParaRPr lang="en-US" sz="1600" b="1" dirty="0">
              <a:solidFill>
                <a:srgbClr val="464646"/>
              </a:solidFill>
              <a:latin typeface="Segoe Condensed" panose="020B0606040200020203" pitchFamily="34" charset="0"/>
            </a:endParaRPr>
          </a:p>
        </p:txBody>
      </p:sp>
    </p:spTree>
    <p:extLst>
      <p:ext uri="{BB962C8B-B14F-4D97-AF65-F5344CB8AC3E}">
        <p14:creationId xmlns:p14="http://schemas.microsoft.com/office/powerpoint/2010/main" val="410365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MM: THEORY</a:t>
            </a:r>
            <a:endParaRPr lang="ru-RU" dirty="0"/>
          </a:p>
        </p:txBody>
      </p:sp>
      <p:sp>
        <p:nvSpPr>
          <p:cNvPr id="3" name="Slide Number Placeholder 2"/>
          <p:cNvSpPr>
            <a:spLocks noGrp="1"/>
          </p:cNvSpPr>
          <p:nvPr>
            <p:ph type="sldNum" sz="quarter" idx="11"/>
          </p:nvPr>
        </p:nvSpPr>
        <p:spPr/>
        <p:txBody>
          <a:bodyPr/>
          <a:lstStyle/>
          <a:p>
            <a:pPr fontAlgn="base">
              <a:spcAft>
                <a:spcPct val="0"/>
              </a:spcAft>
            </a:pPr>
            <a:fld id="{31ED8236-F742-4994-B025-3D78EEC04644}" type="slidenum">
              <a:rPr lang="en-US" noProof="0" smtClean="0"/>
              <a:pPr fontAlgn="base">
                <a:spcAft>
                  <a:spcPct val="0"/>
                </a:spcAft>
              </a:pPr>
              <a:t>8</a:t>
            </a:fld>
            <a:endParaRPr lang="en-US" noProof="0" dirty="0"/>
          </a:p>
        </p:txBody>
      </p:sp>
      <p:sp>
        <p:nvSpPr>
          <p:cNvPr id="5" name="Content Placeholder 1"/>
          <p:cNvSpPr txBox="1">
            <a:spLocks/>
          </p:cNvSpPr>
          <p:nvPr/>
        </p:nvSpPr>
        <p:spPr>
          <a:xfrm>
            <a:off x="342000" y="875226"/>
            <a:ext cx="10835999" cy="4606061"/>
          </a:xfrm>
          <a:prstGeom prst="rect">
            <a:avLst/>
          </a:prstGeom>
        </p:spPr>
        <p:txBody>
          <a:bodyPr/>
          <a:lstStyle>
            <a:lvl1pPr algn="l" defTabSz="576226" rtl="0" eaLnBrk="1" fontAlgn="base" hangingPunct="1">
              <a:lnSpc>
                <a:spcPct val="104000"/>
              </a:lnSpc>
              <a:spcBef>
                <a:spcPts val="1200"/>
              </a:spcBef>
              <a:spcAft>
                <a:spcPct val="0"/>
              </a:spcAft>
              <a:buClr>
                <a:schemeClr val="tx2"/>
              </a:buClr>
              <a:buFont typeface="Wingdings" pitchFamily="2" charset="2"/>
              <a:defRPr sz="1800" kern="1200">
                <a:solidFill>
                  <a:schemeClr val="tx1"/>
                </a:solidFill>
                <a:latin typeface="Tele-GroteskFet" pitchFamily="2" charset="0"/>
                <a:ea typeface="+mn-ea"/>
                <a:cs typeface="+mn-cs"/>
              </a:defRPr>
            </a:lvl1pPr>
            <a:lvl2pPr marL="1588" algn="l" defTabSz="576226" rtl="0" eaLnBrk="1" fontAlgn="base" hangingPunct="1">
              <a:lnSpc>
                <a:spcPct val="104000"/>
              </a:lnSpc>
              <a:spcBef>
                <a:spcPts val="300"/>
              </a:spcBef>
              <a:spcAft>
                <a:spcPct val="0"/>
              </a:spcAft>
              <a:buClr>
                <a:schemeClr val="tx2"/>
              </a:buClr>
              <a:buFont typeface="Wingdings" pitchFamily="2" charset="2"/>
              <a:defRPr sz="1800" kern="1200">
                <a:solidFill>
                  <a:schemeClr val="tx1"/>
                </a:solidFill>
                <a:latin typeface="+mn-lt"/>
                <a:ea typeface="+mn-ea"/>
                <a:cs typeface="+mn-cs"/>
              </a:defRPr>
            </a:lvl2pPr>
            <a:lvl3pPr marL="216000" indent="-216000" algn="l" defTabSz="576226" rtl="0" eaLnBrk="1" fontAlgn="base" hangingPunct="1">
              <a:lnSpc>
                <a:spcPct val="104000"/>
              </a:lnSpc>
              <a:spcBef>
                <a:spcPts val="30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3pPr>
            <a:lvl4pPr marL="432000" indent="-215886"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4pPr>
            <a:lvl5pPr marL="648000" indent="-216000"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5pPr>
            <a:lvl6pPr marL="2514440" indent="-228585" algn="l" defTabSz="457171" rtl="0" eaLnBrk="1" latinLnBrk="0" hangingPunct="1">
              <a:spcBef>
                <a:spcPct val="20000"/>
              </a:spcBef>
              <a:buFont typeface="Arial"/>
              <a:buChar char="•"/>
              <a:defRPr sz="2000" kern="1200">
                <a:solidFill>
                  <a:schemeClr val="tx1"/>
                </a:solidFill>
                <a:latin typeface="+mn-lt"/>
                <a:ea typeface="+mn-ea"/>
                <a:cs typeface="+mn-cs"/>
              </a:defRPr>
            </a:lvl6pPr>
            <a:lvl7pPr marL="2971609" indent="-228585" algn="l" defTabSz="457171" rtl="0" eaLnBrk="1" latinLnBrk="0" hangingPunct="1">
              <a:spcBef>
                <a:spcPct val="20000"/>
              </a:spcBef>
              <a:buFont typeface="Arial"/>
              <a:buChar char="•"/>
              <a:defRPr sz="2000" kern="1200">
                <a:solidFill>
                  <a:schemeClr val="tx1"/>
                </a:solidFill>
                <a:latin typeface="+mn-lt"/>
                <a:ea typeface="+mn-ea"/>
                <a:cs typeface="+mn-cs"/>
              </a:defRPr>
            </a:lvl7pPr>
            <a:lvl8pPr marL="3428780" indent="-228585" algn="l" defTabSz="457171" rtl="0" eaLnBrk="1" latinLnBrk="0" hangingPunct="1">
              <a:spcBef>
                <a:spcPct val="20000"/>
              </a:spcBef>
              <a:buFont typeface="Arial"/>
              <a:buChar char="•"/>
              <a:defRPr sz="2000" kern="1200">
                <a:solidFill>
                  <a:schemeClr val="tx1"/>
                </a:solidFill>
                <a:latin typeface="+mn-lt"/>
                <a:ea typeface="+mn-ea"/>
                <a:cs typeface="+mn-cs"/>
              </a:defRPr>
            </a:lvl8pPr>
            <a:lvl9pPr marL="3885951" indent="-228585" algn="l" defTabSz="457171"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smtClean="0"/>
              <a:t>Test Automation Maturity Model (TAMM) re-uses approach of some well known models and concepts, like Capability Maturity Model (CMM), Capability Maturity Model Integration (CMMI) and Testing Maturity Model (TMM).</a:t>
            </a:r>
          </a:p>
          <a:p>
            <a:endParaRPr lang="en-US" sz="2200" dirty="0" smtClean="0"/>
          </a:p>
          <a:p>
            <a:r>
              <a:rPr lang="en-US" sz="2200" dirty="0" smtClean="0"/>
              <a:t>TAMM is aimed to provide a framework for evaluation the maturity of the test automation processes in an organization or projects, classification of test automation level and providing targets on improving maturity.</a:t>
            </a:r>
          </a:p>
          <a:p>
            <a:endParaRPr lang="en-US" sz="2200" dirty="0" smtClean="0"/>
          </a:p>
          <a:p>
            <a:r>
              <a:rPr lang="en-US" sz="2200" dirty="0" smtClean="0"/>
              <a:t>TAMM evaluation includes evaluation by five technical criteria's and results guidelines (advisability) based on return of investment, project needs and technical aspects. TAMM does not evaluate Level of Goodness or Badness of Automation.</a:t>
            </a:r>
          </a:p>
        </p:txBody>
      </p:sp>
    </p:spTree>
    <p:extLst>
      <p:ext uri="{BB962C8B-B14F-4D97-AF65-F5344CB8AC3E}">
        <p14:creationId xmlns:p14="http://schemas.microsoft.com/office/powerpoint/2010/main" val="3276406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utomation competence center guidelines</a:t>
            </a:r>
            <a:endParaRPr lang="ru-RU" dirty="0"/>
          </a:p>
        </p:txBody>
      </p:sp>
      <p:pic>
        <p:nvPicPr>
          <p:cNvPr id="2" name="Picture 1"/>
          <p:cNvPicPr>
            <a:picLocks noChangeAspect="1"/>
          </p:cNvPicPr>
          <p:nvPr/>
        </p:nvPicPr>
        <p:blipFill>
          <a:blip r:embed="rId2"/>
          <a:stretch>
            <a:fillRect/>
          </a:stretch>
        </p:blipFill>
        <p:spPr>
          <a:xfrm>
            <a:off x="323998" y="1282471"/>
            <a:ext cx="3175947" cy="2077045"/>
          </a:xfrm>
          <a:prstGeom prst="rect">
            <a:avLst/>
          </a:prstGeom>
        </p:spPr>
      </p:pic>
      <p:sp>
        <p:nvSpPr>
          <p:cNvPr id="7" name="Content Placeholder 1"/>
          <p:cNvSpPr>
            <a:spLocks noGrp="1"/>
          </p:cNvSpPr>
          <p:nvPr>
            <p:ph idx="1"/>
          </p:nvPr>
        </p:nvSpPr>
        <p:spPr>
          <a:xfrm>
            <a:off x="3499945" y="1173547"/>
            <a:ext cx="4266974" cy="2037387"/>
          </a:xfrm>
        </p:spPr>
        <p:txBody>
          <a:bodyPr/>
          <a:lstStyle/>
          <a:p>
            <a:r>
              <a:rPr lang="ru-RU" dirty="0" smtClean="0"/>
              <a:t>UI </a:t>
            </a:r>
            <a:r>
              <a:rPr lang="en-US" dirty="0" smtClean="0"/>
              <a:t>Level (</a:t>
            </a:r>
            <a:r>
              <a:rPr lang="en-US" dirty="0" err="1" smtClean="0"/>
              <a:t>FrontEnd</a:t>
            </a:r>
            <a:r>
              <a:rPr lang="en-US" dirty="0" smtClean="0"/>
              <a:t>)</a:t>
            </a:r>
            <a:r>
              <a:rPr lang="ru-RU" dirty="0" smtClean="0"/>
              <a:t>:  </a:t>
            </a:r>
            <a:r>
              <a:rPr lang="ru-RU" dirty="0" err="1"/>
              <a:t>Selenium</a:t>
            </a:r>
            <a:r>
              <a:rPr lang="ru-RU" dirty="0"/>
              <a:t>, </a:t>
            </a:r>
            <a:r>
              <a:rPr lang="en-US" dirty="0"/>
              <a:t>Python </a:t>
            </a:r>
            <a:r>
              <a:rPr lang="en-US" dirty="0" smtClean="0"/>
              <a:t>mechanize</a:t>
            </a:r>
            <a:r>
              <a:rPr lang="ru-RU" dirty="0" smtClean="0"/>
              <a:t>, </a:t>
            </a:r>
            <a:r>
              <a:rPr lang="en-US" dirty="0"/>
              <a:t>UFT (Unified Functional Test</a:t>
            </a:r>
            <a:r>
              <a:rPr lang="en-US" dirty="0" smtClean="0"/>
              <a:t>)</a:t>
            </a:r>
          </a:p>
          <a:p>
            <a:r>
              <a:rPr lang="ru-RU" dirty="0" err="1" smtClean="0"/>
              <a:t>Middle</a:t>
            </a:r>
            <a:r>
              <a:rPr lang="ru-RU" dirty="0" smtClean="0"/>
              <a:t> </a:t>
            </a:r>
            <a:r>
              <a:rPr lang="en-US" dirty="0" smtClean="0"/>
              <a:t>Level (</a:t>
            </a:r>
            <a:r>
              <a:rPr lang="en-US" dirty="0" err="1" smtClean="0"/>
              <a:t>BackEnd</a:t>
            </a:r>
            <a:r>
              <a:rPr lang="en-US" dirty="0" smtClean="0"/>
              <a:t>)</a:t>
            </a:r>
            <a:r>
              <a:rPr lang="ru-RU" dirty="0" smtClean="0"/>
              <a:t>: </a:t>
            </a:r>
            <a:r>
              <a:rPr lang="ru-RU" dirty="0" err="1"/>
              <a:t>Cucumber</a:t>
            </a:r>
            <a:r>
              <a:rPr lang="en-US" dirty="0"/>
              <a:t>, </a:t>
            </a:r>
            <a:r>
              <a:rPr lang="en-US" dirty="0" smtClean="0"/>
              <a:t>SOAP UI, Django</a:t>
            </a:r>
            <a:r>
              <a:rPr lang="en-US" dirty="0"/>
              <a:t>, </a:t>
            </a:r>
            <a:r>
              <a:rPr lang="en-US" dirty="0" err="1"/>
              <a:t>Xyna</a:t>
            </a:r>
            <a:r>
              <a:rPr lang="en-US" dirty="0"/>
              <a:t> Test Factory</a:t>
            </a:r>
            <a:endParaRPr lang="ru-RU" dirty="0"/>
          </a:p>
          <a:p>
            <a:r>
              <a:rPr lang="ru-RU" dirty="0" err="1"/>
              <a:t>Unit</a:t>
            </a:r>
            <a:r>
              <a:rPr lang="ru-RU" dirty="0"/>
              <a:t> </a:t>
            </a:r>
            <a:r>
              <a:rPr lang="en-US" dirty="0" smtClean="0"/>
              <a:t>Level (Developers)</a:t>
            </a:r>
            <a:r>
              <a:rPr lang="ru-RU" dirty="0" smtClean="0"/>
              <a:t>:  </a:t>
            </a:r>
            <a:r>
              <a:rPr lang="ru-RU" dirty="0" err="1"/>
              <a:t>xUnit</a:t>
            </a:r>
            <a:r>
              <a:rPr lang="ru-RU" dirty="0"/>
              <a:t> </a:t>
            </a:r>
            <a:r>
              <a:rPr lang="ru-RU" dirty="0" err="1"/>
              <a:t>family</a:t>
            </a:r>
            <a:r>
              <a:rPr lang="ru-RU" dirty="0"/>
              <a:t> </a:t>
            </a:r>
            <a:r>
              <a:rPr lang="en-US" dirty="0"/>
              <a:t>frameworks, like</a:t>
            </a:r>
            <a:r>
              <a:rPr lang="ru-RU" dirty="0"/>
              <a:t> J</a:t>
            </a:r>
            <a:r>
              <a:rPr lang="en-US" dirty="0"/>
              <a:t>U</a:t>
            </a:r>
            <a:r>
              <a:rPr lang="ru-RU" dirty="0" err="1"/>
              <a:t>nit</a:t>
            </a:r>
            <a:r>
              <a:rPr lang="en-US" dirty="0"/>
              <a:t>, </a:t>
            </a:r>
            <a:r>
              <a:rPr lang="en-US" dirty="0" err="1"/>
              <a:t>PyUnit</a:t>
            </a:r>
            <a:r>
              <a:rPr lang="en-US" dirty="0"/>
              <a:t>, </a:t>
            </a:r>
            <a:r>
              <a:rPr lang="en-US" dirty="0" err="1" smtClean="0"/>
              <a:t>PHPUnit</a:t>
            </a:r>
            <a:endParaRPr lang="ru-RU" dirty="0"/>
          </a:p>
          <a:p>
            <a:endParaRPr lang="en-US" dirty="0" smtClean="0"/>
          </a:p>
        </p:txBody>
      </p:sp>
      <p:sp>
        <p:nvSpPr>
          <p:cNvPr id="5" name="Content Placeholder 1"/>
          <p:cNvSpPr txBox="1">
            <a:spLocks/>
          </p:cNvSpPr>
          <p:nvPr/>
        </p:nvSpPr>
        <p:spPr bwMode="gray">
          <a:xfrm>
            <a:off x="323998" y="867376"/>
            <a:ext cx="10743395" cy="3037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576226" rtl="0" eaLnBrk="1" fontAlgn="base" hangingPunct="1">
              <a:lnSpc>
                <a:spcPct val="104000"/>
              </a:lnSpc>
              <a:spcBef>
                <a:spcPts val="1200"/>
              </a:spcBef>
              <a:spcAft>
                <a:spcPct val="0"/>
              </a:spcAft>
              <a:buClr>
                <a:schemeClr val="tx2"/>
              </a:buClr>
              <a:buFont typeface="Wingdings" pitchFamily="2" charset="2"/>
              <a:defRPr sz="1800" kern="1200">
                <a:solidFill>
                  <a:schemeClr val="tx1"/>
                </a:solidFill>
                <a:latin typeface="Tele-GroteskFet" pitchFamily="2" charset="0"/>
                <a:ea typeface="+mn-ea"/>
                <a:cs typeface="+mn-cs"/>
              </a:defRPr>
            </a:lvl1pPr>
            <a:lvl2pPr marL="1588" algn="l" defTabSz="576226" rtl="0" eaLnBrk="1" fontAlgn="base" hangingPunct="1">
              <a:lnSpc>
                <a:spcPct val="104000"/>
              </a:lnSpc>
              <a:spcBef>
                <a:spcPts val="300"/>
              </a:spcBef>
              <a:spcAft>
                <a:spcPct val="0"/>
              </a:spcAft>
              <a:buClr>
                <a:schemeClr val="tx2"/>
              </a:buClr>
              <a:buFont typeface="Wingdings" pitchFamily="2" charset="2"/>
              <a:defRPr sz="1800" kern="1200">
                <a:solidFill>
                  <a:schemeClr val="tx1"/>
                </a:solidFill>
                <a:latin typeface="+mn-lt"/>
                <a:ea typeface="+mn-ea"/>
                <a:cs typeface="+mn-cs"/>
              </a:defRPr>
            </a:lvl2pPr>
            <a:lvl3pPr marL="216000" indent="-216000" algn="l" defTabSz="576226" rtl="0" eaLnBrk="1" fontAlgn="base" hangingPunct="1">
              <a:lnSpc>
                <a:spcPct val="104000"/>
              </a:lnSpc>
              <a:spcBef>
                <a:spcPts val="30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3pPr>
            <a:lvl4pPr marL="432000" indent="-215886"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4pPr>
            <a:lvl5pPr marL="648000" indent="-216000"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5pPr>
            <a:lvl6pPr marL="2514440" indent="-228585" algn="l" defTabSz="457171" rtl="0" eaLnBrk="1" latinLnBrk="0" hangingPunct="1">
              <a:spcBef>
                <a:spcPct val="20000"/>
              </a:spcBef>
              <a:buFont typeface="Arial"/>
              <a:buChar char="•"/>
              <a:defRPr sz="2000" kern="1200">
                <a:solidFill>
                  <a:schemeClr val="tx1"/>
                </a:solidFill>
                <a:latin typeface="+mn-lt"/>
                <a:ea typeface="+mn-ea"/>
                <a:cs typeface="+mn-cs"/>
              </a:defRPr>
            </a:lvl6pPr>
            <a:lvl7pPr marL="2971609" indent="-228585" algn="l" defTabSz="457171" rtl="0" eaLnBrk="1" latinLnBrk="0" hangingPunct="1">
              <a:spcBef>
                <a:spcPct val="20000"/>
              </a:spcBef>
              <a:buFont typeface="Arial"/>
              <a:buChar char="•"/>
              <a:defRPr sz="2000" kern="1200">
                <a:solidFill>
                  <a:schemeClr val="tx1"/>
                </a:solidFill>
                <a:latin typeface="+mn-lt"/>
                <a:ea typeface="+mn-ea"/>
                <a:cs typeface="+mn-cs"/>
              </a:defRPr>
            </a:lvl7pPr>
            <a:lvl8pPr marL="3428780" indent="-228585" algn="l" defTabSz="457171" rtl="0" eaLnBrk="1" latinLnBrk="0" hangingPunct="1">
              <a:spcBef>
                <a:spcPct val="20000"/>
              </a:spcBef>
              <a:buFont typeface="Arial"/>
              <a:buChar char="•"/>
              <a:defRPr sz="2000" kern="1200">
                <a:solidFill>
                  <a:schemeClr val="tx1"/>
                </a:solidFill>
                <a:latin typeface="+mn-lt"/>
                <a:ea typeface="+mn-ea"/>
                <a:cs typeface="+mn-cs"/>
              </a:defRPr>
            </a:lvl8pPr>
            <a:lvl9pPr marL="3885951" indent="-228585" algn="l" defTabSz="457171" rtl="0" eaLnBrk="1" latinLnBrk="0" hangingPunct="1">
              <a:spcBef>
                <a:spcPct val="20000"/>
              </a:spcBef>
              <a:buFont typeface="Arial"/>
              <a:buChar char="•"/>
              <a:defRPr sz="2000" kern="1200">
                <a:solidFill>
                  <a:schemeClr val="tx1"/>
                </a:solidFill>
                <a:latin typeface="+mn-lt"/>
                <a:ea typeface="+mn-ea"/>
                <a:cs typeface="+mn-cs"/>
              </a:defRPr>
            </a:lvl9pPr>
          </a:lstStyle>
          <a:p>
            <a:r>
              <a:rPr lang="en-US" sz="2000" dirty="0" smtClean="0"/>
              <a:t>Classic Functional Test Pyramid</a:t>
            </a:r>
            <a:endParaRPr lang="en-US" sz="2000" dirty="0"/>
          </a:p>
        </p:txBody>
      </p:sp>
      <p:sp>
        <p:nvSpPr>
          <p:cNvPr id="9" name="Content Placeholder 1"/>
          <p:cNvSpPr txBox="1">
            <a:spLocks/>
          </p:cNvSpPr>
          <p:nvPr/>
        </p:nvSpPr>
        <p:spPr bwMode="gray">
          <a:xfrm>
            <a:off x="533559" y="3892082"/>
            <a:ext cx="8021734" cy="172044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576226" rtl="0" eaLnBrk="1" fontAlgn="base" hangingPunct="1">
              <a:lnSpc>
                <a:spcPct val="104000"/>
              </a:lnSpc>
              <a:spcBef>
                <a:spcPts val="1200"/>
              </a:spcBef>
              <a:spcAft>
                <a:spcPct val="0"/>
              </a:spcAft>
              <a:buClr>
                <a:schemeClr val="tx2"/>
              </a:buClr>
              <a:buFont typeface="Wingdings" pitchFamily="2" charset="2"/>
              <a:defRPr sz="1800" kern="1200">
                <a:solidFill>
                  <a:schemeClr val="tx1"/>
                </a:solidFill>
                <a:latin typeface="Tele-GroteskFet" pitchFamily="2" charset="0"/>
                <a:ea typeface="+mn-ea"/>
                <a:cs typeface="+mn-cs"/>
              </a:defRPr>
            </a:lvl1pPr>
            <a:lvl2pPr marL="1588" algn="l" defTabSz="576226" rtl="0" eaLnBrk="1" fontAlgn="base" hangingPunct="1">
              <a:lnSpc>
                <a:spcPct val="104000"/>
              </a:lnSpc>
              <a:spcBef>
                <a:spcPts val="300"/>
              </a:spcBef>
              <a:spcAft>
                <a:spcPct val="0"/>
              </a:spcAft>
              <a:buClr>
                <a:schemeClr val="tx2"/>
              </a:buClr>
              <a:buFont typeface="Wingdings" pitchFamily="2" charset="2"/>
              <a:defRPr sz="1800" kern="1200">
                <a:solidFill>
                  <a:schemeClr val="tx1"/>
                </a:solidFill>
                <a:latin typeface="+mn-lt"/>
                <a:ea typeface="+mn-ea"/>
                <a:cs typeface="+mn-cs"/>
              </a:defRPr>
            </a:lvl2pPr>
            <a:lvl3pPr marL="216000" indent="-216000" algn="l" defTabSz="576226" rtl="0" eaLnBrk="1" fontAlgn="base" hangingPunct="1">
              <a:lnSpc>
                <a:spcPct val="104000"/>
              </a:lnSpc>
              <a:spcBef>
                <a:spcPts val="30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3pPr>
            <a:lvl4pPr marL="432000" indent="-215886"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4pPr>
            <a:lvl5pPr marL="648000" indent="-216000"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5pPr>
            <a:lvl6pPr marL="2514440" indent="-228585" algn="l" defTabSz="457171" rtl="0" eaLnBrk="1" latinLnBrk="0" hangingPunct="1">
              <a:spcBef>
                <a:spcPct val="20000"/>
              </a:spcBef>
              <a:buFont typeface="Arial"/>
              <a:buChar char="•"/>
              <a:defRPr sz="2000" kern="1200">
                <a:solidFill>
                  <a:schemeClr val="tx1"/>
                </a:solidFill>
                <a:latin typeface="+mn-lt"/>
                <a:ea typeface="+mn-ea"/>
                <a:cs typeface="+mn-cs"/>
              </a:defRPr>
            </a:lvl6pPr>
            <a:lvl7pPr marL="2971609" indent="-228585" algn="l" defTabSz="457171" rtl="0" eaLnBrk="1" latinLnBrk="0" hangingPunct="1">
              <a:spcBef>
                <a:spcPct val="20000"/>
              </a:spcBef>
              <a:buFont typeface="Arial"/>
              <a:buChar char="•"/>
              <a:defRPr sz="2000" kern="1200">
                <a:solidFill>
                  <a:schemeClr val="tx1"/>
                </a:solidFill>
                <a:latin typeface="+mn-lt"/>
                <a:ea typeface="+mn-ea"/>
                <a:cs typeface="+mn-cs"/>
              </a:defRPr>
            </a:lvl7pPr>
            <a:lvl8pPr marL="3428780" indent="-228585" algn="l" defTabSz="457171" rtl="0" eaLnBrk="1" latinLnBrk="0" hangingPunct="1">
              <a:spcBef>
                <a:spcPct val="20000"/>
              </a:spcBef>
              <a:buFont typeface="Arial"/>
              <a:buChar char="•"/>
              <a:defRPr sz="2000" kern="1200">
                <a:solidFill>
                  <a:schemeClr val="tx1"/>
                </a:solidFill>
                <a:latin typeface="+mn-lt"/>
                <a:ea typeface="+mn-ea"/>
                <a:cs typeface="+mn-cs"/>
              </a:defRPr>
            </a:lvl8pPr>
            <a:lvl9pPr marL="3885951" indent="-228585" algn="l" defTabSz="457171" rtl="0" eaLnBrk="1" latinLnBrk="0" hangingPunct="1">
              <a:spcBef>
                <a:spcPct val="20000"/>
              </a:spcBef>
              <a:buFont typeface="Arial"/>
              <a:buChar char="•"/>
              <a:defRPr sz="2000" kern="1200">
                <a:solidFill>
                  <a:schemeClr val="tx1"/>
                </a:solidFill>
                <a:latin typeface="+mn-lt"/>
                <a:ea typeface="+mn-ea"/>
                <a:cs typeface="+mn-cs"/>
              </a:defRPr>
            </a:lvl9pPr>
          </a:lstStyle>
          <a:p>
            <a:r>
              <a:rPr lang="en-US" sz="2000" dirty="0"/>
              <a:t>Non Functional </a:t>
            </a:r>
            <a:r>
              <a:rPr lang="en-US" sz="2000" dirty="0" smtClean="0"/>
              <a:t>test:</a:t>
            </a:r>
          </a:p>
          <a:p>
            <a:r>
              <a:rPr lang="en-US" sz="2000" dirty="0"/>
              <a:t>Load / Performance: </a:t>
            </a:r>
            <a:r>
              <a:rPr lang="en-US" sz="2000" dirty="0" err="1"/>
              <a:t>JMeter</a:t>
            </a:r>
            <a:r>
              <a:rPr lang="en-US" sz="2000" dirty="0"/>
              <a:t>, XYNA Test Factory, </a:t>
            </a:r>
            <a:endParaRPr lang="ru-RU" sz="2000" dirty="0"/>
          </a:p>
          <a:p>
            <a:r>
              <a:rPr lang="en-US" sz="2000" dirty="0"/>
              <a:t>Stability / Stress: </a:t>
            </a:r>
            <a:r>
              <a:rPr lang="en-US" sz="2000" dirty="0" err="1"/>
              <a:t>JMeter</a:t>
            </a:r>
            <a:endParaRPr lang="ru-RU" sz="2000" dirty="0"/>
          </a:p>
          <a:p>
            <a:r>
              <a:rPr lang="en-US" sz="2000" dirty="0"/>
              <a:t>Security: </a:t>
            </a:r>
            <a:r>
              <a:rPr lang="en-US" sz="2000" dirty="0" err="1"/>
              <a:t>Nmap</a:t>
            </a:r>
            <a:r>
              <a:rPr lang="en-US" sz="2000" dirty="0"/>
              <a:t>, Nessus, </a:t>
            </a:r>
          </a:p>
          <a:p>
            <a:endParaRPr lang="en-US" sz="2000" dirty="0"/>
          </a:p>
          <a:p>
            <a:endParaRPr lang="en-US" sz="2000" dirty="0"/>
          </a:p>
          <a:p>
            <a:endParaRPr lang="en-US" sz="2000" dirty="0"/>
          </a:p>
          <a:p>
            <a:endParaRPr lang="en-US" sz="2000" dirty="0"/>
          </a:p>
          <a:p>
            <a:r>
              <a:rPr lang="en-US" sz="2000" dirty="0"/>
              <a:t>	</a:t>
            </a:r>
          </a:p>
          <a:p>
            <a:endParaRPr lang="ru-RU" sz="2000" dirty="0"/>
          </a:p>
        </p:txBody>
      </p:sp>
      <p:pic>
        <p:nvPicPr>
          <p:cNvPr id="8" name="Picture 2" descr="Clos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66919" y="1066320"/>
            <a:ext cx="3123622" cy="2293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531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kom 16:9 2016 EN">
  <a:themeElements>
    <a:clrScheme name="Telekom screen colors">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Vorschlag April 2015_Typo">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lgn="ctr">
          <a:solidFill>
            <a:schemeClr val="tx2"/>
          </a:solidFill>
          <a:miter lim="800000"/>
          <a:headEnd/>
          <a:tailEnd/>
        </a:ln>
        <a:effectLst/>
      </a:spPr>
      <a:bodyPr lIns="72000" tIns="0" rIns="72000" bIns="36000" rtlCol="0" anchor="ctr"/>
      <a:lstStyle>
        <a:defPPr indent="3175" algn="ctr" defTabSz="457293" fontAlgn="base">
          <a:lnSpc>
            <a:spcPct val="104000"/>
          </a:lnSpc>
          <a:spcBef>
            <a:spcPct val="25000"/>
          </a:spcBef>
          <a:spcAft>
            <a:spcPct val="0"/>
          </a:spcAft>
          <a:buClr>
            <a:srgbClr val="E20074"/>
          </a:buClr>
          <a:buSzPct val="75000"/>
          <a:defRPr sz="1800" dirty="0" err="1" smtClean="0">
            <a:cs typeface="Arial" charset="0"/>
          </a:defRPr>
        </a:defPPr>
      </a:lstStyle>
    </a:spDef>
    <a:lnDef>
      <a:spPr>
        <a:ln w="19050">
          <a:solidFill>
            <a:schemeClr val="tx2"/>
          </a:solidFill>
          <a:miter lim="800000"/>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bwMode="gray">
        <a:noFill/>
        <a:ln w="19050">
          <a:noFill/>
          <a:miter lim="800000"/>
          <a:headEnd/>
          <a:tailEnd/>
        </a:ln>
      </a:spPr>
      <a:bodyPr vert="horz" wrap="square" lIns="72000" tIns="36000" rIns="72000" bIns="36000" numCol="1" rtlCol="0" anchor="t" anchorCtr="0" compatLnSpc="1">
        <a:prstTxWarp prst="textNoShape">
          <a:avLst/>
        </a:prstTxWarp>
        <a:noAutofit/>
      </a:bodyPr>
      <a:lstStyle>
        <a:defPPr marL="0" indent="0">
          <a:buNone/>
          <a:defRPr sz="1800" dirty="0" err="1" smtClean="0"/>
        </a:defPPr>
      </a:lstStyle>
    </a:txDef>
  </a:objectDefaults>
  <a:extraClrSchemeLst>
    <a:extraClrScheme>
      <a:clrScheme name="Telekom screen colors">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Systems_MASTER_16-9_EN_20161212" id="{D7C7EFB0-112C-4A6E-BF99-5679390F634E}" vid="{9E5A2CB4-105D-458F-B633-5127698CC524}"/>
    </a:ext>
  </a:extLst>
</a:theme>
</file>

<file path=ppt/theme/theme2.xml><?xml version="1.0" encoding="utf-8"?>
<a:theme xmlns:a="http://schemas.openxmlformats.org/drawingml/2006/main" name="Larissa-Design">
  <a:themeElements>
    <a:clrScheme name="Telekom Screenfarben">
      <a:dk1>
        <a:srgbClr val="4B4B4B"/>
      </a:dk1>
      <a:lt1>
        <a:sysClr val="window" lastClr="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T_PPT Fonts">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Telekom Screenfarben">
      <a:dk1>
        <a:srgbClr val="4B4B4B"/>
      </a:dk1>
      <a:lt1>
        <a:sysClr val="window" lastClr="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992C99"/>
      </a:hlink>
      <a:folHlink>
        <a:srgbClr val="6C6C6C"/>
      </a:folHlink>
    </a:clrScheme>
    <a:fontScheme name="T_PPT Fonts">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cc</Template>
  <TotalTime>0</TotalTime>
  <Words>1524</Words>
  <Application>Microsoft Office PowerPoint</Application>
  <PresentationFormat>Custom</PresentationFormat>
  <Paragraphs>321</Paragraphs>
  <Slides>9</Slides>
  <Notes>1</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3" baseType="lpstr">
      <vt:lpstr>Arial</vt:lpstr>
      <vt:lpstr>Arial Unicode MS</vt:lpstr>
      <vt:lpstr>Segoe Condensed</vt:lpstr>
      <vt:lpstr>Segoe UI Emoji</vt:lpstr>
      <vt:lpstr>TeleGrotesk Headline</vt:lpstr>
      <vt:lpstr>TeleGrotesk Headline Ultra</vt:lpstr>
      <vt:lpstr>Tele-GroteskFet</vt:lpstr>
      <vt:lpstr>Tele-GroteskHal</vt:lpstr>
      <vt:lpstr>Tele-GroteskNor</vt:lpstr>
      <vt:lpstr>Tele-GroteskUlt</vt:lpstr>
      <vt:lpstr>Wingdings</vt:lpstr>
      <vt:lpstr>Wingdings 2</vt:lpstr>
      <vt:lpstr>Telekom 16:9 2016 EN</vt:lpstr>
      <vt:lpstr>think-cell Folie</vt:lpstr>
      <vt:lpstr>TEST Automation maturity model</vt:lpstr>
      <vt:lpstr>tamm: overview</vt:lpstr>
      <vt:lpstr>PowerPoint Presentation</vt:lpstr>
      <vt:lpstr>TAMM: TEST STRATEGY</vt:lpstr>
      <vt:lpstr>TAMM: TEST EXECUTION</vt:lpstr>
      <vt:lpstr>TAMM: DEFECT MANAGMENT</vt:lpstr>
      <vt:lpstr>TAMM: DEVOPS INTEGRATION</vt:lpstr>
      <vt:lpstr>TAMM: THEORY</vt:lpstr>
      <vt:lpstr>Automation competence center guideline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5-30T14:06:01Z</dcterms:created>
  <dcterms:modified xsi:type="dcterms:W3CDTF">2018-07-04T14:47:08Z</dcterms:modified>
</cp:coreProperties>
</file>